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13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8" r:id="rId11"/>
    <p:sldId id="267" r:id="rId12"/>
  </p:sldIdLst>
  <p:sldSz cx="9906000" cy="6858000" type="A4"/>
  <p:notesSz cx="9906000" cy="6858000"/>
  <p:defaultTextStyle>
    <a:defPPr>
      <a:defRPr lang="ru-RU"/>
    </a:defPPr>
    <a:lvl1pPr algn="l">
      <a:spcBef>
        <a:spcPts val="0"/>
      </a:spcBef>
      <a:spcAft>
        <a:spcPts val="0"/>
      </a:spcAft>
      <a:defRPr sz="1200" b="1">
        <a:solidFill>
          <a:schemeClr val="tx1"/>
        </a:solidFill>
        <a:latin typeface="Times New Roman"/>
        <a:ea typeface="+mn-ea"/>
        <a:cs typeface="Arial"/>
      </a:defRPr>
    </a:lvl1pPr>
    <a:lvl2pPr marL="457200" algn="l">
      <a:spcBef>
        <a:spcPts val="0"/>
      </a:spcBef>
      <a:spcAft>
        <a:spcPts val="0"/>
      </a:spcAft>
      <a:defRPr sz="1200" b="1">
        <a:solidFill>
          <a:schemeClr val="tx1"/>
        </a:solidFill>
        <a:latin typeface="Times New Roman"/>
        <a:ea typeface="+mn-ea"/>
        <a:cs typeface="Arial"/>
      </a:defRPr>
    </a:lvl2pPr>
    <a:lvl3pPr marL="914400" algn="l">
      <a:spcBef>
        <a:spcPts val="0"/>
      </a:spcBef>
      <a:spcAft>
        <a:spcPts val="0"/>
      </a:spcAft>
      <a:defRPr sz="1200" b="1">
        <a:solidFill>
          <a:schemeClr val="tx1"/>
        </a:solidFill>
        <a:latin typeface="Times New Roman"/>
        <a:ea typeface="+mn-ea"/>
        <a:cs typeface="Arial"/>
      </a:defRPr>
    </a:lvl3pPr>
    <a:lvl4pPr marL="1371600" algn="l">
      <a:spcBef>
        <a:spcPts val="0"/>
      </a:spcBef>
      <a:spcAft>
        <a:spcPts val="0"/>
      </a:spcAft>
      <a:defRPr sz="1200" b="1">
        <a:solidFill>
          <a:schemeClr val="tx1"/>
        </a:solidFill>
        <a:latin typeface="Times New Roman"/>
        <a:ea typeface="+mn-ea"/>
        <a:cs typeface="Arial"/>
      </a:defRPr>
    </a:lvl4pPr>
    <a:lvl5pPr marL="1828800" algn="l">
      <a:spcBef>
        <a:spcPts val="0"/>
      </a:spcBef>
      <a:spcAft>
        <a:spcPts val="0"/>
      </a:spcAft>
      <a:defRPr sz="1200" b="1">
        <a:solidFill>
          <a:schemeClr val="tx1"/>
        </a:solidFill>
        <a:latin typeface="Times New Roman"/>
        <a:ea typeface="+mn-ea"/>
        <a:cs typeface="Arial"/>
      </a:defRPr>
    </a:lvl5pPr>
    <a:lvl6pPr marL="2286000" algn="l" defTabSz="914400">
      <a:defRPr sz="1200" b="1">
        <a:solidFill>
          <a:schemeClr val="tx1"/>
        </a:solidFill>
        <a:latin typeface="Times New Roman"/>
        <a:ea typeface="+mn-ea"/>
        <a:cs typeface="Arial"/>
      </a:defRPr>
    </a:lvl6pPr>
    <a:lvl7pPr marL="2743200" algn="l" defTabSz="914400">
      <a:defRPr sz="1200" b="1">
        <a:solidFill>
          <a:schemeClr val="tx1"/>
        </a:solidFill>
        <a:latin typeface="Times New Roman"/>
        <a:ea typeface="+mn-ea"/>
        <a:cs typeface="Arial"/>
      </a:defRPr>
    </a:lvl7pPr>
    <a:lvl8pPr marL="3200400" algn="l" defTabSz="914400">
      <a:defRPr sz="1200" b="1">
        <a:solidFill>
          <a:schemeClr val="tx1"/>
        </a:solidFill>
        <a:latin typeface="Times New Roman"/>
        <a:ea typeface="+mn-ea"/>
        <a:cs typeface="Arial"/>
      </a:defRPr>
    </a:lvl8pPr>
    <a:lvl9pPr marL="3657600" algn="l" defTabSz="914400">
      <a:defRPr sz="1200" b="1">
        <a:solidFill>
          <a:schemeClr val="tx1"/>
        </a:solidFill>
        <a:latin typeface="Times New Roman"/>
        <a:ea typeface="+mn-ea"/>
        <a:cs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1446" y="126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prstGeom prst="rect">
          <a:avLst/>
        </a:prstGeom>
        <a:noFill/>
        <a:ln>
          <a:noFill/>
        </a:ln>
        <a:effectLst/>
      </c:spPr>
    </c:floor>
    <c:sideWall>
      <c:thickness val="0"/>
      <c:spPr>
        <a:prstGeom prst="rect">
          <a:avLst/>
        </a:prstGeom>
        <a:noFill/>
        <a:ln>
          <a:noFill/>
        </a:ln>
        <a:effectLst/>
      </c:spPr>
    </c:sideWall>
    <c:backWall>
      <c:thickness val="0"/>
      <c:spPr>
        <a:prstGeom prst="rect">
          <a:avLst/>
        </a:prstGeom>
        <a:noFill/>
        <a:ln>
          <a:noFill/>
        </a:ln>
        <a:effectLst/>
      </c:spPr>
    </c:backWall>
    <c:plotArea>
      <c:layout>
        <c:manualLayout>
          <c:layoutTarget val="inner"/>
          <c:xMode val="edge"/>
          <c:yMode val="edge"/>
          <c:x val="8.6177347810383914E-2"/>
          <c:y val="0.15550179082814278"/>
          <c:w val="0.91382265218961611"/>
          <c:h val="0.54290485355765272"/>
        </c:manualLayout>
      </c:layout>
      <c:bar3DChart>
        <c:barDir val="col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87199744"/>
        <c:axId val="34393472"/>
        <c:axId val="0"/>
      </c:bar3DChart>
      <c:catAx>
        <c:axId val="8719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prstGeom prst="rect">
            <a:avLst/>
          </a:prstGeom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>
                <a:solidFill>
                  <a:schemeClr val="tx1">
                    <a:lumMod val="65000"/>
                    <a:lumOff val="35000"/>
                  </a:schemeClr>
                </a:solidFill>
                <a:latin typeface="Arial"/>
                <a:ea typeface="+mn-ea"/>
                <a:cs typeface="Arial"/>
              </a:defRPr>
            </a:pPr>
            <a:endParaRPr lang="ru-RU"/>
          </a:p>
        </c:txPr>
        <c:crossAx val="34393472"/>
        <c:crosses val="autoZero"/>
        <c:auto val="1"/>
        <c:lblAlgn val="ctr"/>
        <c:lblOffset val="100"/>
        <c:noMultiLvlLbl val="0"/>
      </c:catAx>
      <c:valAx>
        <c:axId val="34393472"/>
        <c:scaling>
          <c:orientation val="minMax"/>
        </c:scaling>
        <c:delete val="0"/>
        <c:axPos val="l"/>
        <c:majorGridlines>
          <c:spPr>
            <a:prstGeom prst="rect">
              <a:avLst/>
            </a:prstGeom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prstGeom prst="rect">
            <a:avLst/>
          </a:prstGeom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7199744"/>
        <c:crosses val="autoZero"/>
        <c:crossBetween val="between"/>
      </c:valAx>
      <c:spPr>
        <a:prstGeom prst="rect">
          <a:avLst/>
        </a:prstGeom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0.29302213276934996"/>
          <c:y val="0.95057845092940352"/>
          <c:w val="0.41801359878214012"/>
          <c:h val="4.9421549070596427E-2"/>
        </c:manualLayout>
      </c:layout>
      <c:overlay val="0"/>
      <c:spPr>
        <a:prstGeom prst="rect">
          <a:avLst/>
        </a:prstGeom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>
              <a:solidFill>
                <a:schemeClr val="tx1">
                  <a:lumMod val="65000"/>
                  <a:lumOff val="35000"/>
                </a:schemeClr>
              </a:solidFill>
              <a:latin typeface="Arial"/>
              <a:ea typeface="+mn-ea"/>
              <a:cs typeface="Arial"/>
            </a:defRPr>
          </a:pPr>
          <a:endParaRPr lang="ru-RU"/>
        </a:p>
      </c:txPr>
    </c:legend>
    <c:plotVisOnly val="1"/>
    <c:dispBlanksAs val="gap"/>
    <c:showDLblsOverMax val="0"/>
  </c:chart>
  <c:spPr>
    <a:xfrm>
      <a:off x="258535" y="489857"/>
      <a:ext cx="9388929" cy="5878286"/>
    </a:xfrm>
    <a:prstGeom prst="rect">
      <a:avLst/>
    </a:prstGeom>
    <a:noFill/>
    <a:ln>
      <a:noFill/>
    </a:ln>
    <a:effectLst/>
  </c:spPr>
  <c:txPr>
    <a:bodyPr/>
    <a:lstStyle/>
    <a:p>
      <a:pPr>
        <a:defRPr/>
      </a:pPr>
      <a:endParaRPr lang="ru-RU"/>
    </a:p>
  </c:txPr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Диаграмма в Microsoft PowerPoint]Лист3'!$C$2</c:f>
              <c:strCache>
                <c:ptCount val="1"/>
                <c:pt idx="0">
                  <c:v>2020 г.</c:v>
                </c:pt>
              </c:strCache>
            </c:strRef>
          </c:tx>
          <c:spPr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/>
                    <a:ea typeface="+mn-ea"/>
                    <a:cs typeface="Times New Roman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'[Диаграмма в Microsoft PowerPoint]Лист3'!$B$3:$B$16</c:f>
              <c:strCache>
                <c:ptCount val="14"/>
                <c:pt idx="1">
                  <c:v>Аварийность, ед., всего,</c:v>
                </c:pt>
                <c:pt idx="2">
                  <c:v>в том числе по видам надзора:</c:v>
                </c:pt>
                <c:pt idx="3">
                  <c:v>Производство, хранение и применение ВМ</c:v>
                </c:pt>
                <c:pt idx="4">
                  <c:v>угольный</c:v>
                </c:pt>
                <c:pt idx="5">
                  <c:v>химический</c:v>
                </c:pt>
                <c:pt idx="6">
                  <c:v>нефтехимический</c:v>
                </c:pt>
                <c:pt idx="7">
                  <c:v>подъемные сооружения </c:v>
                </c:pt>
                <c:pt idx="8">
                  <c:v>горнорудный</c:v>
                </c:pt>
                <c:pt idx="9">
                  <c:v>государственный строительный надзор</c:v>
                </c:pt>
                <c:pt idx="10">
                  <c:v>газопотребление и газораспределение и т.д.</c:v>
                </c:pt>
                <c:pt idx="11">
                  <c:v>котлонадзор</c:v>
                </c:pt>
                <c:pt idx="12">
                  <c:v>энергонадзор </c:v>
                </c:pt>
                <c:pt idx="13">
                  <c:v>гидротехнические сооружения</c:v>
                </c:pt>
              </c:strCache>
            </c:strRef>
          </c:cat>
          <c:val>
            <c:numRef>
              <c:f>'[Диаграмма в Microsoft PowerPoint]Лист3'!$C$3:$C$16</c:f>
              <c:numCache>
                <c:formatCode>General</c:formatCode>
                <c:ptCount val="14"/>
                <c:pt idx="1">
                  <c:v>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1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312-4953-8DBA-2C42DDD22BA0}"/>
            </c:ext>
          </c:extLst>
        </c:ser>
        <c:ser>
          <c:idx val="1"/>
          <c:order val="1"/>
          <c:tx>
            <c:strRef>
              <c:f>'[Диаграмма в Microsoft PowerPoint]Лист3'!$D$2</c:f>
              <c:strCache>
                <c:ptCount val="1"/>
                <c:pt idx="0">
                  <c:v>2021 г.</c:v>
                </c:pt>
              </c:strCache>
            </c:strRef>
          </c:tx>
          <c:spPr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/>
                    <a:ea typeface="+mn-ea"/>
                    <a:cs typeface="Times New Roman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'[Диаграмма в Microsoft PowerPoint]Лист3'!$B$3:$B$16</c:f>
              <c:strCache>
                <c:ptCount val="14"/>
                <c:pt idx="1">
                  <c:v>Аварийность, ед., всего,</c:v>
                </c:pt>
                <c:pt idx="2">
                  <c:v>в том числе по видам надзора:</c:v>
                </c:pt>
                <c:pt idx="3">
                  <c:v>Производство, хранение и применение ВМ</c:v>
                </c:pt>
                <c:pt idx="4">
                  <c:v>угольный</c:v>
                </c:pt>
                <c:pt idx="5">
                  <c:v>химический</c:v>
                </c:pt>
                <c:pt idx="6">
                  <c:v>нефтехимический</c:v>
                </c:pt>
                <c:pt idx="7">
                  <c:v>подъемные сооружения </c:v>
                </c:pt>
                <c:pt idx="8">
                  <c:v>горнорудный</c:v>
                </c:pt>
                <c:pt idx="9">
                  <c:v>государственный строительный надзор</c:v>
                </c:pt>
                <c:pt idx="10">
                  <c:v>газопотребление и газораспределение и т.д.</c:v>
                </c:pt>
                <c:pt idx="11">
                  <c:v>котлонадзор</c:v>
                </c:pt>
                <c:pt idx="12">
                  <c:v>энергонадзор </c:v>
                </c:pt>
                <c:pt idx="13">
                  <c:v>гидротехнические сооружения</c:v>
                </c:pt>
              </c:strCache>
            </c:strRef>
          </c:cat>
          <c:val>
            <c:numRef>
              <c:f>'[Диаграмма в Microsoft PowerPoint]Лист3'!$D$3:$D$16</c:f>
              <c:numCache>
                <c:formatCode>General</c:formatCode>
                <c:ptCount val="14"/>
                <c:pt idx="1">
                  <c:v>7</c:v>
                </c:pt>
                <c:pt idx="3">
                  <c:v>2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3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312-4953-8DBA-2C42DDD22BA0}"/>
            </c:ext>
          </c:extLst>
        </c:ser>
        <c:ser>
          <c:idx val="2"/>
          <c:order val="2"/>
          <c:tx>
            <c:strRef>
              <c:f>'[Диаграмма в Microsoft PowerPoint]Лист3'!$E$2</c:f>
              <c:strCache>
                <c:ptCount val="1"/>
                <c:pt idx="0">
                  <c:v>2022 г.</c:v>
                </c:pt>
              </c:strCache>
            </c:strRef>
          </c:tx>
          <c:spPr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/>
                    <a:ea typeface="+mn-ea"/>
                    <a:cs typeface="Times New Roman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'[Диаграмма в Microsoft PowerPoint]Лист3'!$B$3:$B$16</c:f>
              <c:strCache>
                <c:ptCount val="14"/>
                <c:pt idx="1">
                  <c:v>Аварийность, ед., всего,</c:v>
                </c:pt>
                <c:pt idx="2">
                  <c:v>в том числе по видам надзора:</c:v>
                </c:pt>
                <c:pt idx="3">
                  <c:v>Производство, хранение и применение ВМ</c:v>
                </c:pt>
                <c:pt idx="4">
                  <c:v>угольный</c:v>
                </c:pt>
                <c:pt idx="5">
                  <c:v>химический</c:v>
                </c:pt>
                <c:pt idx="6">
                  <c:v>нефтехимический</c:v>
                </c:pt>
                <c:pt idx="7">
                  <c:v>подъемные сооружения </c:v>
                </c:pt>
                <c:pt idx="8">
                  <c:v>горнорудный</c:v>
                </c:pt>
                <c:pt idx="9">
                  <c:v>государственный строительный надзор</c:v>
                </c:pt>
                <c:pt idx="10">
                  <c:v>газопотребление и газораспределение и т.д.</c:v>
                </c:pt>
                <c:pt idx="11">
                  <c:v>котлонадзор</c:v>
                </c:pt>
                <c:pt idx="12">
                  <c:v>энергонадзор </c:v>
                </c:pt>
                <c:pt idx="13">
                  <c:v>гидротехнические сооружения</c:v>
                </c:pt>
              </c:strCache>
            </c:strRef>
          </c:cat>
          <c:val>
            <c:numRef>
              <c:f>'[Диаграмма в Microsoft PowerPoint]Лист3'!$E$3:$E$16</c:f>
              <c:numCache>
                <c:formatCode>General</c:formatCode>
                <c:ptCount val="14"/>
                <c:pt idx="1">
                  <c:v>6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5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312-4953-8DBA-2C42DDD22BA0}"/>
            </c:ext>
          </c:extLst>
        </c:ser>
        <c:ser>
          <c:idx val="3"/>
          <c:order val="3"/>
          <c:tx>
            <c:strRef>
              <c:f>'[Диаграмма в Microsoft PowerPoint]Лист3'!$F$2</c:f>
              <c:strCache>
                <c:ptCount val="1"/>
                <c:pt idx="0">
                  <c:v>2023 г. </c:v>
                </c:pt>
              </c:strCache>
            </c:strRef>
          </c:tx>
          <c:spPr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/>
                    <a:ea typeface="+mn-ea"/>
                    <a:cs typeface="Times New Roman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'[Диаграмма в Microsoft PowerPoint]Лист3'!$B$3:$B$16</c:f>
              <c:strCache>
                <c:ptCount val="14"/>
                <c:pt idx="1">
                  <c:v>Аварийность, ед., всего,</c:v>
                </c:pt>
                <c:pt idx="2">
                  <c:v>в том числе по видам надзора:</c:v>
                </c:pt>
                <c:pt idx="3">
                  <c:v>Производство, хранение и применение ВМ</c:v>
                </c:pt>
                <c:pt idx="4">
                  <c:v>угольный</c:v>
                </c:pt>
                <c:pt idx="5">
                  <c:v>химический</c:v>
                </c:pt>
                <c:pt idx="6">
                  <c:v>нефтехимический</c:v>
                </c:pt>
                <c:pt idx="7">
                  <c:v>подъемные сооружения </c:v>
                </c:pt>
                <c:pt idx="8">
                  <c:v>горнорудный</c:v>
                </c:pt>
                <c:pt idx="9">
                  <c:v>государственный строительный надзор</c:v>
                </c:pt>
                <c:pt idx="10">
                  <c:v>газопотребление и газораспределение и т.д.</c:v>
                </c:pt>
                <c:pt idx="11">
                  <c:v>котлонадзор</c:v>
                </c:pt>
                <c:pt idx="12">
                  <c:v>энергонадзор </c:v>
                </c:pt>
                <c:pt idx="13">
                  <c:v>гидротехнические сооружения</c:v>
                </c:pt>
              </c:strCache>
            </c:strRef>
          </c:cat>
          <c:val>
            <c:numRef>
              <c:f>'[Диаграмма в Microsoft PowerPoint]Лист3'!$F$3:$F$16</c:f>
              <c:numCache>
                <c:formatCode>General</c:formatCode>
                <c:ptCount val="14"/>
                <c:pt idx="1">
                  <c:v>3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3</c:v>
                </c:pt>
                <c:pt idx="1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312-4953-8DBA-2C42DDD22BA0}"/>
            </c:ext>
          </c:extLst>
        </c:ser>
        <c:ser>
          <c:idx val="4"/>
          <c:order val="4"/>
          <c:tx>
            <c:strRef>
              <c:f>'[Диаграмма в Microsoft PowerPoint]Лист3'!$G$2</c:f>
              <c:strCache>
                <c:ptCount val="1"/>
                <c:pt idx="0">
                  <c:v>2024г.</c:v>
                </c:pt>
              </c:strCache>
            </c:strRef>
          </c:tx>
          <c:spPr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/>
                    <a:ea typeface="+mn-ea"/>
                    <a:cs typeface="Times New Roman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'[Диаграмма в Microsoft PowerPoint]Лист3'!$B$3:$B$16</c:f>
              <c:strCache>
                <c:ptCount val="14"/>
                <c:pt idx="1">
                  <c:v>Аварийность, ед., всего,</c:v>
                </c:pt>
                <c:pt idx="2">
                  <c:v>в том числе по видам надзора:</c:v>
                </c:pt>
                <c:pt idx="3">
                  <c:v>Производство, хранение и применение ВМ</c:v>
                </c:pt>
                <c:pt idx="4">
                  <c:v>угольный</c:v>
                </c:pt>
                <c:pt idx="5">
                  <c:v>химический</c:v>
                </c:pt>
                <c:pt idx="6">
                  <c:v>нефтехимический</c:v>
                </c:pt>
                <c:pt idx="7">
                  <c:v>подъемные сооружения </c:v>
                </c:pt>
                <c:pt idx="8">
                  <c:v>горнорудный</c:v>
                </c:pt>
                <c:pt idx="9">
                  <c:v>государственный строительный надзор</c:v>
                </c:pt>
                <c:pt idx="10">
                  <c:v>газопотребление и газораспределение и т.д.</c:v>
                </c:pt>
                <c:pt idx="11">
                  <c:v>котлонадзор</c:v>
                </c:pt>
                <c:pt idx="12">
                  <c:v>энергонадзор </c:v>
                </c:pt>
                <c:pt idx="13">
                  <c:v>гидротехнические сооружения</c:v>
                </c:pt>
              </c:strCache>
            </c:strRef>
          </c:cat>
          <c:val>
            <c:numRef>
              <c:f>'[Диаграмма в Microsoft PowerPoint]Лист3'!$G$3:$G$16</c:f>
              <c:numCache>
                <c:formatCode>General</c:formatCode>
                <c:ptCount val="14"/>
                <c:pt idx="1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12-4953-8DBA-2C42DDD22BA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9507472"/>
        <c:axId val="1079518704"/>
      </c:barChart>
      <c:catAx>
        <c:axId val="1079507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prstGeom prst="rect">
            <a:avLst/>
          </a:prstGeom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ea typeface="+mn-ea"/>
                <a:cs typeface="Times New Roman"/>
              </a:defRPr>
            </a:pPr>
            <a:endParaRPr lang="ru-RU"/>
          </a:p>
        </c:txPr>
        <c:crossAx val="1079518704"/>
        <c:crosses val="autoZero"/>
        <c:auto val="1"/>
        <c:lblAlgn val="ctr"/>
        <c:lblOffset val="100"/>
        <c:noMultiLvlLbl val="0"/>
      </c:catAx>
      <c:valAx>
        <c:axId val="1079518704"/>
        <c:scaling>
          <c:orientation val="minMax"/>
        </c:scaling>
        <c:delete val="0"/>
        <c:axPos val="l"/>
        <c:majorGridlines>
          <c:spPr>
            <a:prstGeom prst="rect">
              <a:avLst/>
            </a:prstGeom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prstGeom prst="rect">
            <a:avLst/>
          </a:prstGeom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ea typeface="+mn-ea"/>
                <a:cs typeface="Times New Roman"/>
              </a:defRPr>
            </a:pPr>
            <a:endParaRPr lang="ru-RU"/>
          </a:p>
        </c:txPr>
        <c:crossAx val="1079507472"/>
        <c:crosses val="autoZero"/>
        <c:crossBetween val="between"/>
      </c:valAx>
      <c:spPr>
        <a:prstGeom prst="rect">
          <a:avLst/>
        </a:prstGeom>
        <a:noFill/>
        <a:ln>
          <a:noFill/>
        </a:ln>
        <a:effectLst/>
      </c:spPr>
    </c:plotArea>
    <c:legend>
      <c:legendPos val="b"/>
      <c:overlay val="0"/>
      <c:spPr>
        <a:prstGeom prst="rect">
          <a:avLst/>
        </a:prstGeom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baseline="0">
              <a:solidFill>
                <a:schemeClr val="tx1">
                  <a:lumMod val="65000"/>
                  <a:lumOff val="35000"/>
                </a:schemeClr>
              </a:solidFill>
              <a:latin typeface="Times New Roman"/>
              <a:ea typeface="+mn-ea"/>
              <a:cs typeface="Times New Roman"/>
            </a:defRPr>
          </a:pPr>
          <a:endParaRPr lang="ru-RU"/>
        </a:p>
      </c:txPr>
    </c:legend>
    <c:plotVisOnly val="1"/>
    <c:dispBlanksAs val="gap"/>
    <c:showDLblsOverMax val="0"/>
  </c:chart>
  <c:spPr>
    <a:xfrm>
      <a:off x="124861" y="1319461"/>
      <a:ext cx="9429750" cy="4889047"/>
    </a:xfrm>
    <a:prstGeom prst="rect">
      <a:avLst/>
    </a:prstGeom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prstGeom prst="rect">
          <a:avLst/>
        </a:prstGeom>
        <a:noFill/>
        <a:ln>
          <a:noFill/>
          <a:round/>
        </a:ln>
        <a:effectLst/>
      </c:spPr>
    </c:floor>
    <c:sideWall>
      <c:thickness val="0"/>
      <c:spPr>
        <a:prstGeom prst="rect">
          <a:avLst/>
        </a:prstGeom>
        <a:noFill/>
        <a:ln>
          <a:noFill/>
          <a:round/>
        </a:ln>
        <a:effectLst/>
      </c:spPr>
    </c:sideWall>
    <c:backWall>
      <c:thickness val="0"/>
      <c:spPr>
        <a:prstGeom prst="rect">
          <a:avLst/>
        </a:prstGeom>
        <a:noFill/>
        <a:ln>
          <a:noFill/>
          <a:round/>
        </a:ln>
        <a:effectLst/>
      </c:spPr>
    </c:backWall>
    <c:plotArea>
      <c:layout>
        <c:manualLayout>
          <c:layoutTarget val="inner"/>
          <c:xMode val="edge"/>
          <c:yMode val="edge"/>
          <c:x val="0.15748464895439845"/>
          <c:y val="2.6920504346793085E-2"/>
          <c:w val="0.8425153510456016"/>
          <c:h val="0.92162601654010934"/>
        </c:manualLayout>
      </c:layout>
      <c:bar3DChart>
        <c:barDir val="bar"/>
        <c:grouping val="clustered"/>
        <c:varyColors val="0"/>
        <c:ser>
          <c:idx val="0"/>
          <c:order val="0"/>
          <c:tx>
            <c:strRef>
              <c:f>'профилактика '!$D$21</c:f>
              <c:strCache>
                <c:ptCount val="1"/>
                <c:pt idx="0">
                  <c:v>2023</c:v>
                </c:pt>
              </c:strCache>
            </c:strRef>
          </c:tx>
          <c:spPr>
            <a:prstGeom prst="rect">
              <a:avLst/>
            </a:prstGeom>
            <a:solidFill>
              <a:schemeClr val="accent1"/>
            </a:solidFill>
            <a:ln>
              <a:noFill/>
              <a:round/>
            </a:ln>
            <a:effectLst/>
          </c:spPr>
          <c:invertIfNegative val="0"/>
          <c:dLbls>
            <c:spPr>
              <a:noFill/>
              <a:ln>
                <a:noFill/>
                <a:round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'профилактика '!$E$20:$H$20</c:f>
              <c:strCache>
                <c:ptCount val="4"/>
                <c:pt idx="0">
                  <c:v>профилактические визиты</c:v>
                </c:pt>
                <c:pt idx="1">
                  <c:v>предостережения </c:v>
                </c:pt>
                <c:pt idx="2">
                  <c:v>информирование </c:v>
                </c:pt>
                <c:pt idx="3">
                  <c:v>консультирование </c:v>
                </c:pt>
              </c:strCache>
            </c:strRef>
          </c:cat>
          <c:val>
            <c:numRef>
              <c:f>'профилактика '!$E$21:$H$21</c:f>
              <c:numCache>
                <c:formatCode>General</c:formatCode>
                <c:ptCount val="4"/>
                <c:pt idx="0">
                  <c:v>148</c:v>
                </c:pt>
                <c:pt idx="1">
                  <c:v>76</c:v>
                </c:pt>
                <c:pt idx="2">
                  <c:v>5041</c:v>
                </c:pt>
                <c:pt idx="3">
                  <c:v>26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CC-4D61-AA9B-2049D32AA58E}"/>
            </c:ext>
          </c:extLst>
        </c:ser>
        <c:ser>
          <c:idx val="1"/>
          <c:order val="1"/>
          <c:tx>
            <c:strRef>
              <c:f>'профилактика '!$D$22</c:f>
              <c:strCache>
                <c:ptCount val="1"/>
                <c:pt idx="0">
                  <c:v>2024</c:v>
                </c:pt>
              </c:strCache>
            </c:strRef>
          </c:tx>
          <c:spPr>
            <a:prstGeom prst="rect">
              <a:avLst/>
            </a:prstGeom>
            <a:solidFill>
              <a:schemeClr val="accent2"/>
            </a:solidFill>
            <a:ln>
              <a:noFill/>
              <a:round/>
            </a:ln>
            <a:effectLst/>
          </c:spPr>
          <c:invertIfNegative val="0"/>
          <c:dLbls>
            <c:dLbl>
              <c:idx val="3"/>
              <c:layout>
                <c:manualLayout>
                  <c:x val="0"/>
                  <c:y val="-1.63989322186076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D87-4E6E-B869-E710B9965173}"/>
                </c:ext>
              </c:extLst>
            </c:dLbl>
            <c:spPr>
              <a:noFill/>
              <a:ln>
                <a:noFill/>
                <a:round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0"/>
              </c:ext>
            </c:extLst>
          </c:dLbls>
          <c:cat>
            <c:strRef>
              <c:f>'профилактика '!$E$20:$H$20</c:f>
              <c:strCache>
                <c:ptCount val="4"/>
                <c:pt idx="0">
                  <c:v>профилактические визиты</c:v>
                </c:pt>
                <c:pt idx="1">
                  <c:v>предостережения </c:v>
                </c:pt>
                <c:pt idx="2">
                  <c:v>информирование </c:v>
                </c:pt>
                <c:pt idx="3">
                  <c:v>консультирование </c:v>
                </c:pt>
              </c:strCache>
            </c:strRef>
          </c:cat>
          <c:val>
            <c:numRef>
              <c:f>'профилактика '!$E$22:$H$22</c:f>
              <c:numCache>
                <c:formatCode>General</c:formatCode>
                <c:ptCount val="4"/>
                <c:pt idx="0">
                  <c:v>176</c:v>
                </c:pt>
                <c:pt idx="1">
                  <c:v>159</c:v>
                </c:pt>
                <c:pt idx="2">
                  <c:v>9455</c:v>
                </c:pt>
                <c:pt idx="3">
                  <c:v>1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CC-4D61-AA9B-2049D32AA5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79505808"/>
        <c:axId val="1079508304"/>
        <c:axId val="0"/>
      </c:bar3DChart>
      <c:catAx>
        <c:axId val="1079505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prstGeom prst="rect">
            <a:avLst/>
          </a:prstGeom>
          <a:noFill/>
          <a:ln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>
                <a:solidFill>
                  <a:schemeClr val="tx1">
                    <a:lumMod val="65000"/>
                    <a:lumOff val="35000"/>
                  </a:schemeClr>
                </a:solidFill>
                <a:latin typeface="Times New Roman"/>
                <a:ea typeface="+mn-ea"/>
                <a:cs typeface="Times New Roman"/>
              </a:defRPr>
            </a:pPr>
            <a:endParaRPr lang="ru-RU"/>
          </a:p>
        </c:txPr>
        <c:crossAx val="1079508304"/>
        <c:crosses val="autoZero"/>
        <c:auto val="1"/>
        <c:lblAlgn val="ctr"/>
        <c:lblOffset val="100"/>
        <c:noMultiLvlLbl val="0"/>
      </c:catAx>
      <c:valAx>
        <c:axId val="1079508304"/>
        <c:scaling>
          <c:orientation val="minMax"/>
        </c:scaling>
        <c:delete val="1"/>
        <c:axPos val="b"/>
        <c:majorGridlines>
          <c:spPr>
            <a:prstGeom prst="rect">
              <a:avLst/>
            </a:prstGeom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079505808"/>
        <c:crosses val="autoZero"/>
        <c:crossBetween val="between"/>
      </c:valAx>
      <c:spPr>
        <a:prstGeom prst="rect">
          <a:avLst/>
        </a:prstGeom>
        <a:noFill/>
        <a:ln>
          <a:noFill/>
          <a:round/>
        </a:ln>
        <a:effectLst/>
      </c:spPr>
    </c:plotArea>
    <c:legend>
      <c:legendPos val="b"/>
      <c:overlay val="0"/>
      <c:spPr>
        <a:prstGeom prst="rect">
          <a:avLst/>
        </a:prstGeom>
        <a:noFill/>
        <a:ln>
          <a:noFill/>
          <a:round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xfrm>
      <a:off x="715747" y="3789041"/>
      <a:ext cx="8633451" cy="2323322"/>
    </a:xfrm>
    <a:prstGeom prst="rect">
      <a:avLst/>
    </a:prstGeom>
    <a:noFill/>
    <a:ln>
      <a:noFill/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926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11813" y="0"/>
            <a:ext cx="42926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22DE2A-1E4B-407B-B6E5-56D952FD26A9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81363" y="857250"/>
            <a:ext cx="3343275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0600" y="3300413"/>
            <a:ext cx="79248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42926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11813" y="6513513"/>
            <a:ext cx="42926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0C142-916F-4F6C-ADFA-A06DF2063D3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7064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742950" y="2130430"/>
            <a:ext cx="8420100" cy="1470025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485900" y="3886200"/>
            <a:ext cx="6934200" cy="17525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FDD45952-46B6-4C33-BEAF-ED7EB73DF6E8}" type="datetime1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B4A39DB-C546-4D5B-875C-45BED52E887B}" type="datetime1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7780337" y="274643"/>
            <a:ext cx="2414588" cy="5851525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536577" y="274643"/>
            <a:ext cx="7078663" cy="5851525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5446465-4EA6-4047-A112-DBECB45FDC7C}" type="datetime1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742950" y="2130430"/>
            <a:ext cx="8420100" cy="1470025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485900" y="3886200"/>
            <a:ext cx="6934200" cy="17525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149E0809-746C-4641-9EB4-C66E5D5762D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132C084-9D0D-4AD7-AD27-44D7A2B8AC4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782506" y="440690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DFE414A0-438B-493D-BDEB-4B7F202758C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 bwMode="auto">
          <a:xfrm>
            <a:off x="536575" y="1600205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5448300" y="1600205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D6780E0-7945-4494-8A9D-10BB6CB1282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 bwMode="auto"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2B92AF51-5066-41EE-90FB-8264108C199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95267003-678C-4264-8BEC-695A9B20400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94D085B-8D00-4DFB-ABEA-74282C33547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>
          <a:xfrm>
            <a:off x="3872972" y="273055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3AE0340-D5BB-4DED-B7D7-D912429B313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EF8D6194-4D9F-4317-8100-456BAC8D139D}" type="datetime1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 bwMode="auto"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F83B5903-A105-4F1D-9EA9-4F75B7A9E4B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9F2D8F17-2970-4F37-802F-770C7433CBD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7780337" y="274643"/>
            <a:ext cx="2414588" cy="5851525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536577" y="274643"/>
            <a:ext cx="7078663" cy="5851525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B78EA3CC-5AD4-43F7-A58F-82E65E76571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782506" y="440690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DBBF565F-979A-4DAB-8C5B-B0A547461981}" type="datetime1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 bwMode="auto">
          <a:xfrm>
            <a:off x="536575" y="1600205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5448300" y="1600205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E9AE0EE8-FF99-49D4-A4F1-1741E58A99A9}" type="datetime1">
              <a:rPr lang="ru-RU" smtClean="0"/>
              <a:t>1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 bwMode="auto"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D38530FB-FBE4-4D6C-B9CB-9AB108929AC8}" type="datetime1">
              <a:rPr lang="ru-RU" smtClean="0"/>
              <a:t>17.0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A6856ED-0739-4896-98E6-8E8C32529A67}" type="datetime1">
              <a:rPr lang="ru-RU" smtClean="0"/>
              <a:t>17.0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78FE0380-8C57-43A4-BE63-E71B878CA570}" type="datetime1">
              <a:rPr lang="ru-RU" smtClean="0"/>
              <a:t>17.0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>
          <a:xfrm>
            <a:off x="3872972" y="273055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BAF213-7C54-4AC2-A411-6C6519FEC423}" type="datetime1">
              <a:rPr lang="ru-RU" smtClean="0"/>
              <a:t>1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 bwMode="auto"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1C490C4D-90E4-41A6-ADCC-0D22803812B4}" type="datetime1">
              <a:rPr lang="ru-RU" smtClean="0"/>
              <a:t>1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5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495300" y="6356355"/>
            <a:ext cx="23113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50D4E6D-28E2-4D2E-9CB5-9486AB9205F1}" type="datetime1">
              <a:rPr lang="ru-RU" smtClean="0"/>
              <a:t>1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3384550" y="635635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/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7099300" y="6356355"/>
            <a:ext cx="23113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/>
              <a:t>‹#›</a:t>
            </a:fld>
            <a:endParaRPr lang="ru-RU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7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>
        <a:spcBef>
          <a:spcPts val="0"/>
        </a:spcBef>
        <a:buFont typeface="Arial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>
        <a:spcBef>
          <a:spcPts val="0"/>
        </a:spcBef>
        <a:buFont typeface="Arial"/>
        <a:buChar char="–"/>
        <a:defRPr sz="28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spcBef>
          <a:spcPts val="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spcBef>
          <a:spcPts val="0"/>
        </a:spcBef>
        <a:buFont typeface="Arial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spcBef>
          <a:spcPts val="0"/>
        </a:spcBef>
        <a:buFont typeface="Arial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5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495300" y="6356355"/>
            <a:ext cx="23113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81151DC-36AC-4A6C-95D0-9A78BDB7B1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7.02.202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3384550" y="635635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Слайд №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7099300" y="6356355"/>
            <a:ext cx="23113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9CF3A0CE-FB47-4628-AF62-2D67A550A453}" type="slidenum">
              <a:rPr lang="ru-RU">
                <a:solidFill>
                  <a:prstClr val="black">
                    <a:tint val="75000"/>
                  </a:prstClr>
                </a:solidFill>
              </a:r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8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14400"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>
        <a:spcBef>
          <a:spcPts val="0"/>
        </a:spcBef>
        <a:buFont typeface="Arial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>
        <a:spcBef>
          <a:spcPts val="0"/>
        </a:spcBef>
        <a:buFont typeface="Arial"/>
        <a:buChar char="–"/>
        <a:defRPr sz="28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spcBef>
          <a:spcPts val="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spcBef>
          <a:spcPts val="0"/>
        </a:spcBef>
        <a:buFont typeface="Arial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spcBef>
          <a:spcPts val="0"/>
        </a:spcBef>
        <a:buFont typeface="Arial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chart" Target="../charts/chart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rgbClr val="FEF6E6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0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65" name="Подзаголовок 2"/>
          <p:cNvSpPr>
            <a:spLocks noGrp="1"/>
          </p:cNvSpPr>
          <p:nvPr>
            <p:ph type="subTitle" idx="4294967295"/>
          </p:nvPr>
        </p:nvSpPr>
        <p:spPr bwMode="auto">
          <a:xfrm>
            <a:off x="388938" y="1844824"/>
            <a:ext cx="9150350" cy="4536504"/>
          </a:xfrm>
        </p:spPr>
        <p:txBody>
          <a:bodyPr>
            <a:noAutofit/>
          </a:bodyPr>
          <a:lstStyle/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  <a:defRPr/>
            </a:pPr>
            <a:endParaRPr lang="ru-RU" b="1">
              <a:latin typeface="Times New Roman"/>
              <a:cs typeface="Times New Roman"/>
            </a:endParaRP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  <a:defRPr/>
            </a:pPr>
            <a:endParaRPr lang="ru-RU" b="1">
              <a:latin typeface="Times New Roman"/>
              <a:cs typeface="Times New Roman"/>
            </a:endParaRP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b="1">
                <a:latin typeface="Times New Roman"/>
                <a:cs typeface="Times New Roman"/>
              </a:rPr>
              <a:t>ДОКЛАД</a:t>
            </a:r>
            <a:endParaRPr/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2400" b="1">
                <a:latin typeface="Times New Roman"/>
                <a:cs typeface="Times New Roman"/>
              </a:rPr>
              <a:t>Об итогах деятельности </a:t>
            </a:r>
            <a:endParaRPr/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  <a:defRPr/>
            </a:pPr>
            <a:r>
              <a:rPr lang="ru-RU" sz="2400" b="1">
                <a:latin typeface="Times New Roman"/>
                <a:cs typeface="Times New Roman"/>
              </a:rPr>
              <a:t>Забайкальского  управления Ростехнадзора за 2024 г. </a:t>
            </a:r>
            <a:endParaRPr/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buFont typeface="Arial"/>
              <a:buNone/>
              <a:defRPr/>
            </a:pPr>
            <a:endParaRPr lang="ru-RU" sz="2400" b="1">
              <a:latin typeface="Times New Roman"/>
              <a:cs typeface="Times New Roman"/>
            </a:endParaRP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buFont typeface="Arial"/>
              <a:buNone/>
              <a:defRPr/>
            </a:pPr>
            <a:endParaRPr lang="ru-RU" sz="2400" b="1">
              <a:latin typeface="Times New Roman"/>
              <a:cs typeface="Times New Roman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11113" y="1690689"/>
            <a:ext cx="9906000" cy="7143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endParaRPr lang="ru-RU" sz="1800" b="0"/>
          </a:p>
        </p:txBody>
      </p:sp>
      <p:pic>
        <p:nvPicPr>
          <p:cNvPr id="15364" name="Picture 41" descr="fsetan_emblema2007"/>
          <p:cNvPicPr>
            <a:picLocks noChangeAspect="1" noChangeArrowheads="1"/>
          </p:cNvPicPr>
          <p:nvPr/>
        </p:nvPicPr>
        <p:blipFill>
          <a:blip r:embed="rId5"/>
          <a:stretch/>
        </p:blipFill>
        <p:spPr bwMode="auto">
          <a:xfrm>
            <a:off x="4257675" y="98661"/>
            <a:ext cx="1412875" cy="146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 bwMode="auto">
          <a:xfrm>
            <a:off x="5670550" y="567635"/>
            <a:ext cx="396297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  <a:defRPr/>
            </a:pPr>
            <a:endParaRPr lang="ru-RU" sz="1600">
              <a:latin typeface="Cambria"/>
            </a:endParaRPr>
          </a:p>
          <a:p>
            <a:pPr lvl="0" algn="r">
              <a:lnSpc>
                <a:spcPct val="80000"/>
              </a:lnSpc>
              <a:defRPr/>
            </a:pPr>
            <a:r>
              <a:rPr lang="ru-RU" sz="1600">
                <a:latin typeface="Cambria"/>
              </a:rPr>
              <a:t>Забайкальское управление </a:t>
            </a:r>
            <a:endParaRPr/>
          </a:p>
          <a:p>
            <a:pPr lvl="0" algn="r">
              <a:lnSpc>
                <a:spcPct val="80000"/>
              </a:lnSpc>
              <a:defRPr/>
            </a:pPr>
            <a:r>
              <a:rPr lang="ru-RU" sz="1600">
                <a:latin typeface="Cambria"/>
              </a:rPr>
              <a:t>Федеральной службы по </a:t>
            </a:r>
            <a:endParaRPr/>
          </a:p>
          <a:p>
            <a:pPr lvl="0" algn="r">
              <a:lnSpc>
                <a:spcPct val="80000"/>
              </a:lnSpc>
              <a:defRPr/>
            </a:pPr>
            <a:r>
              <a:rPr lang="ru-RU" sz="1600">
                <a:latin typeface="Cambria"/>
              </a:rPr>
              <a:t>экологическому, технологическому </a:t>
            </a:r>
            <a:endParaRPr/>
          </a:p>
          <a:p>
            <a:pPr lvl="0" algn="r">
              <a:lnSpc>
                <a:spcPct val="80000"/>
              </a:lnSpc>
              <a:defRPr/>
            </a:pPr>
            <a:r>
              <a:rPr lang="ru-RU" sz="1600">
                <a:latin typeface="Cambria"/>
              </a:rPr>
              <a:t>и атомному надзору</a:t>
            </a:r>
            <a:endParaRPr/>
          </a:p>
        </p:txBody>
      </p:sp>
      <p:grpSp>
        <p:nvGrpSpPr>
          <p:cNvPr id="10" name="Группа 34"/>
          <p:cNvGrpSpPr/>
          <p:nvPr/>
        </p:nvGrpSpPr>
        <p:grpSpPr bwMode="auto">
          <a:xfrm>
            <a:off x="0" y="367094"/>
            <a:ext cx="8915400" cy="403541"/>
            <a:chOff x="35496" y="332656"/>
            <a:chExt cx="9107488" cy="419795"/>
          </a:xfrm>
        </p:grpSpPr>
        <p:sp>
          <p:nvSpPr>
            <p:cNvPr id="14" name="Rectangle 16"/>
            <p:cNvSpPr>
              <a:spLocks noChangeArrowheads="1"/>
            </p:cNvSpPr>
            <p:nvPr/>
          </p:nvSpPr>
          <p:spPr bwMode="auto">
            <a:xfrm>
              <a:off x="35496" y="476672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1F497D">
                    <a:lumMod val="60000"/>
                    <a:lumOff val="40000"/>
                  </a:srgbClr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1800" b="0" i="0" u="none" strike="noStrike" cap="none" spc="0">
                <a:ln>
                  <a:noFill/>
                </a:ln>
                <a:solidFill>
                  <a:sysClr val="windowText" lastClr="000000"/>
                </a:solidFill>
                <a:cs typeface="Arial"/>
              </a:endParaRPr>
            </a:p>
          </p:txBody>
        </p:sp>
        <p:sp>
          <p:nvSpPr>
            <p:cNvPr id="15" name="Rectangle 16"/>
            <p:cNvSpPr>
              <a:spLocks noChangeArrowheads="1"/>
            </p:cNvSpPr>
            <p:nvPr/>
          </p:nvSpPr>
          <p:spPr bwMode="auto">
            <a:xfrm>
              <a:off x="35496" y="620688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rgbClr val="FF0000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1800" b="0" i="0" u="none" strike="noStrike" cap="none" spc="0">
                <a:ln>
                  <a:noFill/>
                </a:ln>
                <a:solidFill>
                  <a:sysClr val="windowText" lastClr="000000"/>
                </a:solidFill>
                <a:cs typeface="Arial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auto">
            <a:xfrm>
              <a:off x="35496" y="332656"/>
              <a:ext cx="9107488" cy="131763"/>
            </a:xfrm>
            <a:prstGeom prst="rect">
              <a:avLst/>
            </a:prstGeom>
            <a:gradFill rotWithShape="0">
              <a:gsLst>
                <a:gs pos="0">
                  <a:sysClr val="window" lastClr="FFFFFF"/>
                </a:gs>
                <a:gs pos="100000">
                  <a:sysClr val="window" lastClr="FFFFFF">
                    <a:alpha val="5000"/>
                  </a:sys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marL="0" marR="0" lvl="0" indent="0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1800" b="0" i="0" u="none" strike="noStrike" cap="none" spc="0">
                <a:ln>
                  <a:noFill/>
                </a:ln>
                <a:solidFill>
                  <a:sysClr val="windowText" lastClr="000000"/>
                </a:solidFill>
                <a:cs typeface="Arial"/>
              </a:endParaRPr>
            </a:p>
          </p:txBody>
        </p:sp>
      </p:grpSp>
      <p:sp>
        <p:nvSpPr>
          <p:cNvPr id="15367" name="Заголовок 1"/>
          <p:cNvSpPr/>
          <p:nvPr/>
        </p:nvSpPr>
        <p:spPr bwMode="auto">
          <a:xfrm>
            <a:off x="1" y="770634"/>
            <a:ext cx="3584847" cy="991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/>
          <a:lstStyle/>
          <a:p>
            <a:pPr>
              <a:lnSpc>
                <a:spcPct val="80000"/>
              </a:lnSpc>
              <a:defRPr/>
            </a:pPr>
            <a:endParaRPr lang="ru-RU" sz="1800">
              <a:latin typeface="Cambria"/>
            </a:endParaRPr>
          </a:p>
          <a:p>
            <a:pPr>
              <a:lnSpc>
                <a:spcPct val="80000"/>
              </a:lnSpc>
              <a:defRPr/>
            </a:pPr>
            <a:r>
              <a:rPr lang="ru-RU" sz="3200">
                <a:latin typeface="Cambria"/>
              </a:rPr>
              <a:t>  РОСТЕХНАДЗОР</a:t>
            </a:r>
            <a:endParaRPr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9CF3A0CE-FB47-4628-AF62-2D67A550A453}" type="slidenum">
              <a:rPr lang="ru-RU"/>
              <a:t>1</a:t>
            </a:fld>
            <a:endParaRPr lang="ru-RU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>
        <p:fade/>
      </p:transition>
    </mc:Choice>
    <mc:Fallback xmlns="" xmlns:m="http://schemas.openxmlformats.org/officeDocument/2006/math" xmlns:w="http://schemas.openxmlformats.org/wordprocessingml/2006/main">
      <p:transition spd="slow" advClick="0">
        <p:fade thruBlk="0"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8140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Заголовок 3"/>
          <p:cNvGrpSpPr>
            <a:grpSpLocks noGrp="1"/>
          </p:cNvGrpSpPr>
          <p:nvPr/>
        </p:nvGrpSpPr>
        <p:grpSpPr bwMode="auto">
          <a:xfrm>
            <a:off x="74623" y="0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00" b="0"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 bwMode="auto"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600">
                    <a:solidFill>
                      <a:sysClr val="windowText" lastClr="000000"/>
                    </a:solidFill>
                    <a:latin typeface="Arial"/>
                  </a:rPr>
                  <a:t>РОСТЕХНАДЗОР</a:t>
                </a:r>
                <a:endParaRPr lang="ru-RU" sz="1800" b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5"/>
              <a:stretch/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>
                <a:solidFill>
                  <a:prstClr val="white"/>
                </a:solidFill>
              </a:rPr>
              <a:t>10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86969" y="733594"/>
            <a:ext cx="8790059" cy="713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0" u="sng" cap="all" dirty="0">
                <a:cs typeface="Times New Roman"/>
              </a:rPr>
              <a:t>Задачи Забайкальского управления </a:t>
            </a:r>
            <a:r>
              <a:rPr lang="ru-RU" sz="2000" b="0" u="sng" cap="all" dirty="0" err="1">
                <a:cs typeface="Times New Roman"/>
              </a:rPr>
              <a:t>рОстехнадзора</a:t>
            </a:r>
            <a:r>
              <a:rPr lang="ru-RU" sz="2000" b="0" u="sng" cap="all" dirty="0">
                <a:cs typeface="Times New Roman"/>
              </a:rPr>
              <a:t> на 2025 год </a:t>
            </a:r>
            <a:endParaRPr sz="2000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366185" y="1275055"/>
            <a:ext cx="93648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0" dirty="0">
                <a:solidFill>
                  <a:prstClr val="black"/>
                </a:solidFill>
              </a:rPr>
              <a:t>1. Обеспечение снижения уровня аварийности и смертельного травматизма на объектах , поднадзорных управлению в целях исполнения целевых  показателей « Снижение количества аварий на опасных производственных объектах» и  «Снижение количества случаев со смертельным исходом в результате аварий на опасных производственных объектах». </a:t>
            </a:r>
            <a:endParaRPr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420250" y="2267823"/>
            <a:ext cx="9065499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0" i="1" dirty="0">
                <a:solidFill>
                  <a:srgbClr val="002060"/>
                </a:solidFill>
              </a:rPr>
              <a:t>1.1 Обязательное проведение  внеплановых контрольных( надзорных) мероприятий  по итогам   аварий и несчастных случаев</a:t>
            </a:r>
            <a:endParaRPr dirty="0"/>
          </a:p>
          <a:p>
            <a:pPr>
              <a:defRPr/>
            </a:pPr>
            <a:r>
              <a:rPr lang="ru-RU" sz="1400" b="0" i="1" dirty="0">
                <a:solidFill>
                  <a:srgbClr val="002060"/>
                </a:solidFill>
              </a:rPr>
              <a:t>1.2  Применение мер профилактического воздействия – информирование, консультирование, проведение профилактических  визитов, выдаче предостережений о недопустимости нарушений обязательных требований, проведение публичных слушаний, семинаров. Реализация внедрения использования МП «Мобильный инспектор», инструментов по досудебному обжалованию  ГИС ТОР КНД.</a:t>
            </a:r>
            <a:endParaRPr dirty="0"/>
          </a:p>
          <a:p>
            <a:pPr>
              <a:defRPr/>
            </a:pPr>
            <a:r>
              <a:rPr lang="ru-RU" sz="1400" b="0" i="1" dirty="0">
                <a:solidFill>
                  <a:srgbClr val="002060"/>
                </a:solidFill>
              </a:rPr>
              <a:t>1.3 Применение мер административного воздействия</a:t>
            </a:r>
            <a:endParaRPr dirty="0"/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304993" y="5515081"/>
            <a:ext cx="93648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0" dirty="0">
                <a:solidFill>
                  <a:prstClr val="black"/>
                </a:solidFill>
              </a:rPr>
              <a:t>4</a:t>
            </a:r>
            <a:r>
              <a:rPr lang="ru-RU" sz="1600" b="0" dirty="0">
                <a:solidFill>
                  <a:prstClr val="black"/>
                </a:solidFill>
              </a:rPr>
              <a:t>. Выполнение программы цифровой трансформации по показателям «Доля обращений заявителей для получения государственной услуги в электронном виде от общего количества обращений»  и «Доля результатов предоставления государственной услуги заявителю исключительно в электронном виде, от общего количества результатов»  не ниже  50%  от общего количества заявлений</a:t>
            </a:r>
            <a:endParaRPr dirty="0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307975" y="3868261"/>
            <a:ext cx="93648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0" dirty="0">
                <a:solidFill>
                  <a:prstClr val="black"/>
                </a:solidFill>
              </a:rPr>
              <a:t>2. Реализация «Программы профилактических мероприятий по профилактике рисков причинения вреда (ущерба) охраняемым  законом ценностям  на 2025 год» согласно утверждённым графикам, расширение практики применения мер профилактического воздействия.</a:t>
            </a:r>
            <a:endParaRPr dirty="0"/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329519" y="4684084"/>
            <a:ext cx="93648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600" b="0" dirty="0">
                <a:solidFill>
                  <a:prstClr val="black"/>
                </a:solidFill>
              </a:rPr>
              <a:t>3</a:t>
            </a:r>
            <a:r>
              <a:rPr lang="ru-RU" sz="1600" b="0" dirty="0">
                <a:solidFill>
                  <a:prstClr val="black"/>
                </a:solidFill>
              </a:rPr>
              <a:t>.</a:t>
            </a:r>
            <a:r>
              <a:rPr lang="en-US" sz="1600" b="0" dirty="0">
                <a:solidFill>
                  <a:prstClr val="black"/>
                </a:solidFill>
              </a:rPr>
              <a:t> </a:t>
            </a:r>
            <a:r>
              <a:rPr lang="ru-RU" sz="1600" b="0" dirty="0">
                <a:solidFill>
                  <a:prstClr val="black"/>
                </a:solidFill>
              </a:rPr>
              <a:t>Проведение внеплановых контрольных( надзорных) мероприятий по срабатыванию индикаторов риска в отношении ОПО </a:t>
            </a:r>
            <a:r>
              <a:rPr lang="en-US" sz="1600" b="0" dirty="0">
                <a:solidFill>
                  <a:prstClr val="black"/>
                </a:solidFill>
              </a:rPr>
              <a:t>III </a:t>
            </a:r>
            <a:r>
              <a:rPr lang="ru-RU" sz="1600" b="0" dirty="0">
                <a:solidFill>
                  <a:prstClr val="black"/>
                </a:solidFill>
              </a:rPr>
              <a:t>и </a:t>
            </a:r>
            <a:r>
              <a:rPr lang="en-US" sz="1600" b="0" dirty="0">
                <a:solidFill>
                  <a:prstClr val="black"/>
                </a:solidFill>
              </a:rPr>
              <a:t>IV </a:t>
            </a:r>
            <a:r>
              <a:rPr lang="ru-RU" sz="1600" b="0" dirty="0">
                <a:solidFill>
                  <a:prstClr val="black"/>
                </a:solidFill>
              </a:rPr>
              <a:t>класса опасности. Увеличение практики проведения  внеплановых контрольных( надзорных) мероприятий  по индикаторам риска.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fade/>
      </p:transition>
    </mc:Choice>
    <mc:Fallback xmlns="" xmlns:m="http://schemas.openxmlformats.org/officeDocument/2006/math" xmlns:w="http://schemas.openxmlformats.org/wordprocessingml/2006/main">
      <p:transition spd="slow" advClick="1">
        <p:fade thruBlk="0"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5368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Заголовок 3"/>
          <p:cNvGrpSpPr>
            <a:grpSpLocks noGrp="1"/>
          </p:cNvGrpSpPr>
          <p:nvPr/>
        </p:nvGrpSpPr>
        <p:grpSpPr bwMode="auto">
          <a:xfrm>
            <a:off x="0" y="71950"/>
            <a:ext cx="8915400" cy="1161264"/>
            <a:chOff x="35496" y="25624"/>
            <a:chExt cx="9107488" cy="1208038"/>
          </a:xfrm>
        </p:grpSpPr>
        <p:grpSp>
          <p:nvGrpSpPr>
            <p:cNvPr id="8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 bwMode="auto">
            <a:xfrm>
              <a:off x="35496" y="25624"/>
              <a:ext cx="4315393" cy="1208038"/>
              <a:chOff x="35496" y="25624"/>
              <a:chExt cx="4315393" cy="1208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2562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ru-RU" sz="1600" b="1" i="0" u="none" strike="noStrike" cap="none" spc="0">
                    <a:ln>
                      <a:noFill/>
                    </a:ln>
                    <a:solidFill>
                      <a:sysClr val="windowText" lastClr="000000"/>
                    </a:solidFill>
                    <a:latin typeface="Arial"/>
                    <a:cs typeface="Arial"/>
                  </a:rPr>
                  <a:t>РОСТЕХНАДЗОР</a:t>
                </a: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latin typeface="Arial"/>
                  <a:cs typeface="Arial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5"/>
              <a:stretch/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>
                <a:solidFill>
                  <a:schemeClr val="bg1"/>
                </a:solidFill>
              </a:rPr>
              <a:t>2</a:t>
            </a:fld>
            <a:endParaRPr lang="ru-RU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731404" y="770635"/>
            <a:ext cx="832312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000" b="0" i="0" u="sng" strike="noStrike" cap="none" spc="0" dirty="0">
                <a:ln>
                  <a:noFill/>
                </a:ln>
                <a:solidFill>
                  <a:sysClr val="windowText" lastClr="000000"/>
                </a:solidFill>
                <a:cs typeface="Times New Roman"/>
              </a:rPr>
              <a:t>О ПОДНАДЗОРНЫХ ОБЪЕКТАХ 2024/2023 </a:t>
            </a:r>
            <a:r>
              <a:rPr lang="ru-RU" sz="2000" b="0" i="0" u="sng" strike="noStrike" cap="none" spc="0" dirty="0" err="1">
                <a:ln>
                  <a:noFill/>
                </a:ln>
                <a:solidFill>
                  <a:sysClr val="windowText" lastClr="000000"/>
                </a:solidFill>
                <a:cs typeface="Times New Roman"/>
              </a:rPr>
              <a:t>г.г</a:t>
            </a:r>
            <a:r>
              <a:rPr lang="ru-RU" sz="2000" b="0" i="0" u="sng" strike="noStrike" cap="none" spc="0" dirty="0">
                <a:ln>
                  <a:noFill/>
                </a:ln>
                <a:solidFill>
                  <a:sysClr val="windowText" lastClr="000000"/>
                </a:solidFill>
                <a:cs typeface="Times New Roman"/>
              </a:rPr>
              <a:t>. </a:t>
            </a:r>
            <a:endParaRPr dirty="0"/>
          </a:p>
        </p:txBody>
      </p:sp>
      <p:sp>
        <p:nvSpPr>
          <p:cNvPr id="16" name="TextBox 15"/>
          <p:cNvSpPr txBox="1"/>
          <p:nvPr/>
        </p:nvSpPr>
        <p:spPr bwMode="auto">
          <a:xfrm>
            <a:off x="561092" y="1337300"/>
            <a:ext cx="8568371" cy="48681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4999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ru-RU" sz="1800" dirty="0">
                <a:solidFill>
                  <a:srgbClr val="000000"/>
                </a:solidFill>
                <a:latin typeface="Times New Roman"/>
                <a:ea typeface="Times New Roman"/>
              </a:rPr>
              <a:t>федеральный государственный надзор в области промышленной безопасности – 1623 (1624);</a:t>
            </a:r>
            <a:endParaRPr lang="ru-RU" sz="1800" dirty="0">
              <a:latin typeface="Times New Roman"/>
              <a:ea typeface="Times New Roman"/>
            </a:endParaRPr>
          </a:p>
          <a:p>
            <a:pPr algn="ctr">
              <a:lnSpc>
                <a:spcPct val="114999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ru-RU" sz="1800" dirty="0">
                <a:solidFill>
                  <a:srgbClr val="000000"/>
                </a:solidFill>
                <a:latin typeface="Times New Roman"/>
                <a:ea typeface="Times New Roman"/>
              </a:rPr>
              <a:t>федеральный государственный энергетический надзор- 20078 (18761);</a:t>
            </a:r>
            <a:endParaRPr lang="ru-RU" sz="1800" dirty="0">
              <a:latin typeface="Times New Roman"/>
              <a:ea typeface="Times New Roman"/>
            </a:endParaRPr>
          </a:p>
          <a:p>
            <a:pPr algn="ctr">
              <a:lnSpc>
                <a:spcPct val="114999"/>
              </a:lnSpc>
              <a:spcBef>
                <a:spcPts val="1200"/>
              </a:spcBef>
              <a:spcAft>
                <a:spcPts val="600"/>
              </a:spcAft>
              <a:defRPr/>
            </a:pPr>
            <a:endParaRPr lang="ru-RU" sz="1800" dirty="0">
              <a:solidFill>
                <a:srgbClr val="000000"/>
              </a:solidFill>
              <a:latin typeface="Times New Roman"/>
              <a:ea typeface="Times New Roman"/>
            </a:endParaRPr>
          </a:p>
          <a:p>
            <a:pPr algn="ctr">
              <a:lnSpc>
                <a:spcPct val="114999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ru-RU" sz="1800" dirty="0">
                <a:solidFill>
                  <a:srgbClr val="000000"/>
                </a:solidFill>
                <a:latin typeface="Times New Roman"/>
                <a:ea typeface="Times New Roman"/>
              </a:rPr>
              <a:t>федеральный государственный надзор в области безопасности гидротехнических сооружений -211 (210);</a:t>
            </a:r>
            <a:endParaRPr lang="ru-RU" sz="1800" dirty="0">
              <a:latin typeface="Times New Roman"/>
              <a:ea typeface="Times New Roman"/>
            </a:endParaRPr>
          </a:p>
          <a:p>
            <a:pPr algn="ctr">
              <a:lnSpc>
                <a:spcPct val="114999"/>
              </a:lnSpc>
              <a:spcBef>
                <a:spcPts val="1200"/>
              </a:spcBef>
              <a:spcAft>
                <a:spcPts val="600"/>
              </a:spcAft>
              <a:defRPr/>
            </a:pPr>
            <a:endParaRPr lang="ru-RU" sz="1800" dirty="0">
              <a:solidFill>
                <a:srgbClr val="000000"/>
              </a:solidFill>
              <a:latin typeface="Times New Roman"/>
              <a:ea typeface="Times New Roman"/>
            </a:endParaRPr>
          </a:p>
          <a:p>
            <a:pPr algn="ctr">
              <a:lnSpc>
                <a:spcPct val="114999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ru-RU" sz="1800" dirty="0">
                <a:solidFill>
                  <a:srgbClr val="000000"/>
                </a:solidFill>
                <a:latin typeface="Times New Roman"/>
                <a:ea typeface="Times New Roman"/>
              </a:rPr>
              <a:t>федеральный государственный  горный надзор – 570 (434);</a:t>
            </a:r>
            <a:endParaRPr lang="ru-RU" sz="1800" dirty="0">
              <a:latin typeface="Times New Roman"/>
              <a:ea typeface="Times New Roman"/>
            </a:endParaRPr>
          </a:p>
          <a:p>
            <a:pPr algn="ctr">
              <a:lnSpc>
                <a:spcPct val="114999"/>
              </a:lnSpc>
              <a:spcBef>
                <a:spcPts val="1200"/>
              </a:spcBef>
              <a:spcAft>
                <a:spcPts val="600"/>
              </a:spcAft>
              <a:defRPr/>
            </a:pPr>
            <a:endParaRPr lang="ru-RU" sz="1800" dirty="0">
              <a:solidFill>
                <a:srgbClr val="000000"/>
              </a:solidFill>
              <a:latin typeface="Times New Roman"/>
              <a:ea typeface="Times New Roman"/>
            </a:endParaRPr>
          </a:p>
          <a:p>
            <a:pPr algn="ctr">
              <a:lnSpc>
                <a:spcPct val="114999"/>
              </a:lnSpc>
              <a:spcBef>
                <a:spcPts val="1200"/>
              </a:spcBef>
              <a:spcAft>
                <a:spcPts val="600"/>
              </a:spcAft>
              <a:defRPr/>
            </a:pPr>
            <a:r>
              <a:rPr lang="ru-RU" sz="1800" dirty="0">
                <a:solidFill>
                  <a:srgbClr val="000000"/>
                </a:solidFill>
                <a:latin typeface="Times New Roman"/>
                <a:ea typeface="Times New Roman"/>
              </a:rPr>
              <a:t>государственный строительный надзор- 288 (393). </a:t>
            </a:r>
            <a:endParaRPr lang="ru-RU" sz="1800" dirty="0">
              <a:latin typeface="Times New Roman"/>
              <a:ea typeface="Times New Roman"/>
            </a:endParaRPr>
          </a:p>
        </p:txBody>
      </p:sp>
      <p:sp>
        <p:nvSpPr>
          <p:cNvPr id="5" name="Стрелка: вниз 4"/>
          <p:cNvSpPr/>
          <p:nvPr/>
        </p:nvSpPr>
        <p:spPr bwMode="auto">
          <a:xfrm>
            <a:off x="7475270" y="5722893"/>
            <a:ext cx="432048" cy="504056"/>
          </a:xfrm>
          <a:prstGeom prst="downArrow">
            <a:avLst>
              <a:gd name="adj1" fmla="val 5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 rot="10800000">
            <a:off x="8560705" y="2132846"/>
            <a:ext cx="493819" cy="53649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7938384" y="4586012"/>
            <a:ext cx="493819" cy="536494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 rot="10800000">
            <a:off x="8979584" y="1332703"/>
            <a:ext cx="493819" cy="53649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8185294" y="3190504"/>
            <a:ext cx="493819" cy="536494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fade/>
      </p:transition>
    </mc:Choice>
    <mc:Fallback xmlns="" xmlns:m="http://schemas.openxmlformats.org/officeDocument/2006/math" xmlns:w="http://schemas.openxmlformats.org/wordprocessingml/2006/main">
      <p:transition spd="slow" advClick="1">
        <p:fade thruBlk="0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5369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Заголовок 3"/>
          <p:cNvGrpSpPr>
            <a:grpSpLocks noGrp="1"/>
          </p:cNvGrpSpPr>
          <p:nvPr/>
        </p:nvGrpSpPr>
        <p:grpSpPr bwMode="auto">
          <a:xfrm>
            <a:off x="0" y="28540"/>
            <a:ext cx="8915400" cy="1204674"/>
            <a:chOff x="35496" y="-19534"/>
            <a:chExt cx="9107488" cy="1253196"/>
          </a:xfrm>
        </p:grpSpPr>
        <p:grpSp>
          <p:nvGrpSpPr>
            <p:cNvPr id="8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 bwMode="auto">
            <a:xfrm>
              <a:off x="35496" y="-19534"/>
              <a:ext cx="4315393" cy="1253196"/>
              <a:chOff x="35496" y="-19534"/>
              <a:chExt cx="4315393" cy="1253196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-19534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ru-RU" sz="1600" b="1" i="0" u="none" strike="noStrike" cap="none" spc="0">
                    <a:ln>
                      <a:noFill/>
                    </a:ln>
                    <a:solidFill>
                      <a:sysClr val="windowText" lastClr="000000"/>
                    </a:solidFill>
                    <a:latin typeface="Arial"/>
                    <a:cs typeface="Arial"/>
                  </a:rPr>
                  <a:t>РОСТЕХНАДЗОР</a:t>
                </a: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latin typeface="Arial"/>
                  <a:cs typeface="Arial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5"/>
              <a:stretch/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29464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>
                <a:solidFill>
                  <a:schemeClr val="bg1"/>
                </a:solidFill>
              </a:rPr>
              <a:t>3</a:t>
            </a:fld>
            <a:endParaRPr lang="ru-RU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088424" y="368914"/>
            <a:ext cx="803802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000" b="0" u="sng" cap="all" dirty="0">
                <a:solidFill>
                  <a:sysClr val="windowText" lastClr="000000"/>
                </a:solidFill>
                <a:cs typeface="Times New Roman"/>
              </a:rPr>
              <a:t>Краткая статистика показателей надзорной деятельности по видам надзора 2024/2023 </a:t>
            </a:r>
            <a:r>
              <a:rPr lang="ru-RU" sz="2000" b="0" u="sng" cap="all" dirty="0" err="1">
                <a:solidFill>
                  <a:sysClr val="windowText" lastClr="000000"/>
                </a:solidFill>
                <a:cs typeface="Times New Roman"/>
              </a:rPr>
              <a:t>г.г</a:t>
            </a:r>
            <a:r>
              <a:rPr lang="ru-RU" sz="2000" b="0" u="sng" cap="all" dirty="0">
                <a:solidFill>
                  <a:sysClr val="windowText" lastClr="000000"/>
                </a:solidFill>
                <a:cs typeface="Times New Roman"/>
              </a:rPr>
              <a:t>.</a:t>
            </a:r>
            <a:endParaRPr lang="ru-RU" sz="2000" b="0" i="0" u="sng" strike="noStrike" cap="all" spc="0" dirty="0">
              <a:ln>
                <a:noFill/>
              </a:ln>
              <a:solidFill>
                <a:sysClr val="windowText" lastClr="000000"/>
              </a:solidFill>
              <a:cs typeface="Times New Roman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9287251"/>
              </p:ext>
            </p:extLst>
          </p:nvPr>
        </p:nvGraphicFramePr>
        <p:xfrm>
          <a:off x="268624" y="1233214"/>
          <a:ext cx="9368747" cy="5216389"/>
        </p:xfrm>
        <a:graphic>
          <a:graphicData uri="http://schemas.openxmlformats.org/drawingml/2006/table">
            <a:tbl>
              <a:tblPr/>
              <a:tblGrid>
                <a:gridCol w="435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4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18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18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269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656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2693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2693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2693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21857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1753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167139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167139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167139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17724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показателя/ вид надзора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мышленная безопасность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нергонадзор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ТС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роительный надзор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блюдение требований технического регламента «О безопасности лифтов»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едеральный государственный лицензионный контроль (надзор) за деятельностью, связанной с обращением ВМ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едеральный государственный лицензионный контроль (надзор) за производством маркшейдерских работ 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едеральный государственный лицензионный контроль (надзор) за деятельностью по проведению ЭПБ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5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иод 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28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щее количество проверок, из них 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9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28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1.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 срабатыванию индикатора риска 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52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.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ст.надзор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28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щее количество выявленных нарушений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6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5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67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19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1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6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42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щее количество административных наказаний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59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1.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исквалификаций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85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2.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ПД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5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3.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преждений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28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4.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дминистративных штрафов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242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умма наложенных административных штрафов (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21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66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1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71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0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36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242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умма взысканных административных штрафов (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рублей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22,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60,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64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9,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40,3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algn="ctr">
                      <a:solidFill>
                        <a:srgbClr val="000000"/>
                      </a:solidFill>
                    </a:lnL>
                    <a:lnR w="6350" algn="ctr">
                      <a:solidFill>
                        <a:srgbClr val="000000"/>
                      </a:solidFill>
                    </a:lnR>
                    <a:lnT w="6350" algn="ctr">
                      <a:solidFill>
                        <a:srgbClr val="000000"/>
                      </a:solidFill>
                    </a:lnT>
                    <a:lnB w="6350" algn="ctr">
                      <a:solidFill>
                        <a:srgbClr val="000000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fade/>
      </p:transition>
    </mc:Choice>
    <mc:Fallback xmlns="" xmlns:m="http://schemas.openxmlformats.org/officeDocument/2006/math" xmlns:w="http://schemas.openxmlformats.org/wordprocessingml/2006/main">
      <p:transition spd="slow" advClick="1">
        <p:fade thruBlk="0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5370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Заголовок 3"/>
          <p:cNvGrpSpPr>
            <a:grpSpLocks noGrp="1"/>
          </p:cNvGrpSpPr>
          <p:nvPr/>
        </p:nvGrpSpPr>
        <p:grpSpPr bwMode="auto">
          <a:xfrm>
            <a:off x="0" y="85209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 bwMode="auto"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ru-RU" sz="1600" b="1" i="0" u="none" strike="noStrike" cap="none" spc="0">
                    <a:ln>
                      <a:noFill/>
                    </a:ln>
                    <a:solidFill>
                      <a:sysClr val="windowText" lastClr="000000"/>
                    </a:solidFill>
                    <a:latin typeface="Arial"/>
                    <a:cs typeface="Arial"/>
                  </a:rPr>
                  <a:t>РОСТЕХНАДЗОР</a:t>
                </a: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latin typeface="Arial"/>
                  <a:cs typeface="Arial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5"/>
              <a:stretch/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>
                <a:solidFill>
                  <a:schemeClr val="bg1"/>
                </a:solidFill>
              </a:rPr>
              <a:t>4</a:t>
            </a:fld>
            <a:endParaRPr lang="ru-RU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000" b="0" u="sng">
                <a:solidFill>
                  <a:sysClr val="windowText" lastClr="000000"/>
                </a:solidFill>
                <a:cs typeface="Times New Roman"/>
              </a:rPr>
              <a:t>Об аварийности на поднадзорных предприятиях</a:t>
            </a:r>
            <a:endParaRPr lang="ru-RU" sz="2000" b="0" i="0" u="sng" strike="noStrike" cap="none" spc="0">
              <a:ln>
                <a:noFill/>
              </a:ln>
              <a:solidFill>
                <a:sysClr val="windowText" lastClr="000000"/>
              </a:solidFill>
              <a:cs typeface="Times New Roman"/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1710218"/>
              </p:ext>
            </p:extLst>
          </p:nvPr>
        </p:nvGraphicFramePr>
        <p:xfrm>
          <a:off x="248447" y="489857"/>
          <a:ext cx="9388929" cy="58782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6014955"/>
              </p:ext>
            </p:extLst>
          </p:nvPr>
        </p:nvGraphicFramePr>
        <p:xfrm>
          <a:off x="-87560" y="1319461"/>
          <a:ext cx="9937103" cy="5340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fade/>
      </p:transition>
    </mc:Choice>
    <mc:Fallback xmlns="" xmlns:m="http://schemas.openxmlformats.org/officeDocument/2006/math" xmlns:w="http://schemas.openxmlformats.org/wordprocessingml/2006/main">
      <p:transition spd="slow" advClick="1">
        <p:fade thruBlk="0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5371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Заголовок 3"/>
          <p:cNvGrpSpPr>
            <a:grpSpLocks noGrp="1"/>
          </p:cNvGrpSpPr>
          <p:nvPr/>
        </p:nvGrpSpPr>
        <p:grpSpPr bwMode="auto">
          <a:xfrm>
            <a:off x="0" y="85209"/>
            <a:ext cx="8915400" cy="1148005"/>
            <a:chOff x="35496" y="39417"/>
            <a:chExt cx="9107488" cy="1194245"/>
          </a:xfrm>
        </p:grpSpPr>
        <p:grpSp>
          <p:nvGrpSpPr>
            <p:cNvPr id="8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 bwMode="auto">
            <a:xfrm>
              <a:off x="166728" y="39417"/>
              <a:ext cx="4315393" cy="1194245"/>
              <a:chOff x="166728" y="39417"/>
              <a:chExt cx="4315393" cy="1194245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166728" y="39417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ru-RU" sz="1600" b="1" i="0" u="none" strike="noStrike" cap="none" spc="0">
                    <a:ln>
                      <a:noFill/>
                    </a:ln>
                    <a:solidFill>
                      <a:sysClr val="windowText" lastClr="000000"/>
                    </a:solidFill>
                    <a:latin typeface="Arial"/>
                    <a:cs typeface="Arial"/>
                  </a:rPr>
                  <a:t>РОСТЕХНАДЗОР</a:t>
                </a: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latin typeface="Arial"/>
                  <a:cs typeface="Arial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5"/>
              <a:stretch/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141770" y="5877272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>
                <a:solidFill>
                  <a:schemeClr val="bg1"/>
                </a:solidFill>
              </a:rPr>
              <a:t>5</a:t>
            </a:fld>
            <a:endParaRPr lang="ru-RU">
              <a:solidFill>
                <a:schemeClr val="bg1"/>
              </a:solidFill>
            </a:endParaRPr>
          </a:p>
        </p:txBody>
      </p:sp>
      <p:sp>
        <p:nvSpPr>
          <p:cNvPr id="33" name="Text Box 18"/>
          <p:cNvSpPr txBox="1">
            <a:spLocks noChangeArrowheads="1"/>
          </p:cNvSpPr>
          <p:nvPr/>
        </p:nvSpPr>
        <p:spPr bwMode="auto">
          <a:xfrm>
            <a:off x="1136576" y="787494"/>
            <a:ext cx="799288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000" b="0" u="sng" dirty="0">
                <a:solidFill>
                  <a:sysClr val="windowText" lastClr="000000"/>
                </a:solidFill>
                <a:cs typeface="Times New Roman"/>
              </a:rPr>
              <a:t>Об аварийности и смертельном травматизме  на поднадзорных предприятиях</a:t>
            </a:r>
            <a:endParaRPr lang="ru-RU" sz="2000" b="0" i="0" u="sng" strike="noStrike" cap="none" spc="0" dirty="0">
              <a:ln>
                <a:noFill/>
              </a:ln>
              <a:solidFill>
                <a:sysClr val="windowText" lastClr="000000"/>
              </a:solidFill>
              <a:cs typeface="Times New Roman"/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416496" y="1650678"/>
            <a:ext cx="9217023" cy="22570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0" u="sng" dirty="0"/>
              <a:t>Аварии за 2024 г.:</a:t>
            </a:r>
            <a:endParaRPr dirty="0"/>
          </a:p>
          <a:p>
            <a:pPr>
              <a:defRPr/>
            </a:pPr>
            <a:endParaRPr lang="ru-RU" sz="800" b="0" dirty="0"/>
          </a:p>
          <a:p>
            <a:pPr marL="342900" indent="-342900">
              <a:spcAft>
                <a:spcPts val="1000"/>
              </a:spcAft>
              <a:buAutoNum type="arabicParenR"/>
              <a:defRPr/>
            </a:pPr>
            <a:r>
              <a:rPr lang="ru-RU" sz="1400" b="0" dirty="0"/>
              <a:t>03.08.2024 в результате интенсивных дождей за двое суток количество осадков составило 120 мм – 146 % от месячной нормы около 15:00-16:00 МСК на объекте «ГТС водохранилище на реке </a:t>
            </a:r>
            <a:r>
              <a:rPr lang="ru-RU" sz="1400" b="0" dirty="0" err="1"/>
              <a:t>Хонхолойка</a:t>
            </a:r>
            <a:r>
              <a:rPr lang="ru-RU" sz="1400" b="0" dirty="0"/>
              <a:t> Мухоршибирского района Республики Бурятия» произошел перелив через гребень земляной  плотины, в дальнейшем происходит неконтролируемый перелив воды через гребень плотины, с размыванием откоса нижнего бьефа и в дальнейшем ее размыв до отметок дна русла. </a:t>
            </a:r>
          </a:p>
          <a:p>
            <a:pPr marL="342900" indent="-342900">
              <a:spcAft>
                <a:spcPts val="1000"/>
              </a:spcAft>
              <a:buAutoNum type="arabicParenR"/>
              <a:defRPr/>
            </a:pPr>
            <a:r>
              <a:rPr lang="ru-RU" sz="1400" b="0" dirty="0"/>
              <a:t>20.06.2024 г. , г. Улан-Удэ. Падение башенного крана. </a:t>
            </a:r>
          </a:p>
          <a:p>
            <a:pPr>
              <a:spcAft>
                <a:spcPts val="1000"/>
              </a:spcAft>
              <a:defRPr/>
            </a:pPr>
            <a:endParaRPr lang="ru-RU" sz="1600" b="0" dirty="0"/>
          </a:p>
        </p:txBody>
      </p:sp>
      <p:sp>
        <p:nvSpPr>
          <p:cNvPr id="16" name="TextBox 15"/>
          <p:cNvSpPr txBox="1"/>
          <p:nvPr/>
        </p:nvSpPr>
        <p:spPr bwMode="auto">
          <a:xfrm>
            <a:off x="488503" y="3717032"/>
            <a:ext cx="8856984" cy="13593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0" u="sng" dirty="0"/>
              <a:t>Несчастные случаи за 2024 г.:</a:t>
            </a:r>
            <a:r>
              <a:rPr lang="ru-RU" sz="1600" b="0" dirty="0"/>
              <a:t> </a:t>
            </a:r>
            <a:endParaRPr dirty="0"/>
          </a:p>
          <a:p>
            <a:pPr>
              <a:defRPr/>
            </a:pPr>
            <a:endParaRPr lang="ru-RU" sz="1600" b="0" dirty="0"/>
          </a:p>
          <a:p>
            <a:pPr>
              <a:spcAft>
                <a:spcPts val="1000"/>
              </a:spcAft>
              <a:defRPr/>
            </a:pPr>
            <a:r>
              <a:rPr lang="ru-RU" sz="1400" b="0" dirty="0"/>
              <a:t>1)  20.06.2024 г. , г. Улан-Удэ. При падении башенного крана смертельно травмирован 1 человек. </a:t>
            </a:r>
            <a:endParaRPr dirty="0"/>
          </a:p>
          <a:p>
            <a:pPr>
              <a:spcAft>
                <a:spcPts val="1000"/>
              </a:spcAft>
              <a:defRPr/>
            </a:pPr>
            <a:r>
              <a:rPr lang="ru-RU" sz="1400" b="0" dirty="0"/>
              <a:t>2)  24.02.2024 г., ООО «Артель старателей Западная» (Республика Бурятия) смертельно травмирован при поражении электрическим током 1 человек . </a:t>
            </a:r>
            <a:endParaRPr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fade/>
      </p:transition>
    </mc:Choice>
    <mc:Fallback xmlns="" xmlns:m="http://schemas.openxmlformats.org/officeDocument/2006/math" xmlns:w="http://schemas.openxmlformats.org/wordprocessingml/2006/main">
      <p:transition spd="slow" advClick="1">
        <p:fade thruBlk="0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8133" name="Picture 5" descr="Для качественной печати: текущая страница в формате TIFF"/>
          <p:cNvPicPr>
            <a:picLocks noChangeAspect="1" noChangeArrowheads="1"/>
          </p:cNvPicPr>
          <p:nvPr/>
        </p:nvPicPr>
        <p:blipFill>
          <a:blip r:embed="rId3"/>
          <a:stretch/>
        </p:blipFill>
        <p:spPr bwMode="auto">
          <a:xfrm>
            <a:off x="299313" y="1225563"/>
            <a:ext cx="3392777" cy="4688354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</p:pic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48134" name="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Заголовок 3"/>
          <p:cNvGrpSpPr>
            <a:grpSpLocks noGrp="1"/>
          </p:cNvGrpSpPr>
          <p:nvPr/>
        </p:nvGrpSpPr>
        <p:grpSpPr bwMode="auto"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 bwMode="auto"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ru-RU" sz="1600" b="1" i="0" u="none" strike="noStrike" cap="none" spc="0">
                    <a:ln>
                      <a:noFill/>
                    </a:ln>
                    <a:solidFill>
                      <a:sysClr val="windowText" lastClr="000000"/>
                    </a:solidFill>
                    <a:latin typeface="Arial"/>
                    <a:cs typeface="Arial"/>
                  </a:rPr>
                  <a:t>РОСТЕХНАДЗОР</a:t>
                </a: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latin typeface="Arial"/>
                  <a:cs typeface="Arial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6"/>
              <a:stretch/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>
                <a:solidFill>
                  <a:schemeClr val="bg1"/>
                </a:solidFill>
              </a:rPr>
              <a:t>6</a:t>
            </a:fld>
            <a:endParaRPr lang="ru-RU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920911" y="752888"/>
            <a:ext cx="8424936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000" b="0" u="sng" cap="all" dirty="0">
                <a:solidFill>
                  <a:sysClr val="windowText" lastClr="000000"/>
                </a:solidFill>
                <a:cs typeface="Times New Roman"/>
              </a:rPr>
              <a:t>Об организации работы по выявлению индикаторов риска нарушения обязательных требований</a:t>
            </a:r>
            <a:endParaRPr lang="ru-RU" sz="2000" b="0" i="0" u="sng" strike="noStrike" cap="all" spc="0" dirty="0">
              <a:ln>
                <a:noFill/>
              </a:ln>
              <a:solidFill>
                <a:sysClr val="windowText" lastClr="000000"/>
              </a:solidFill>
              <a:cs typeface="Times New Roman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3886200" y="1556791"/>
            <a:ext cx="5747679" cy="2042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600" b="0" i="1" dirty="0"/>
              <a:t>В 2024 году проведение внеплановых контрольных (надзорных) мероприятий при выявлении индикаторов риска нарушения обязательных требований допускалось в отношении объектов:</a:t>
            </a:r>
            <a:endParaRPr dirty="0"/>
          </a:p>
          <a:p>
            <a:pPr>
              <a:defRPr/>
            </a:pPr>
            <a:r>
              <a:rPr lang="ru-RU" sz="1600" b="0" i="1" dirty="0"/>
              <a:t>чрезвычайно высокого и высокого рисков, опасных производственных объектов I и II классов опасности, гидротехнических сооружений I и II классов, или индикаторов риска, влекущих непосредственную угрозу причинения вреда жизни и тяжкого вреда здоровью граждан.</a:t>
            </a:r>
            <a:endParaRPr dirty="0"/>
          </a:p>
        </p:txBody>
      </p:sp>
      <p:cxnSp>
        <p:nvCxnSpPr>
          <p:cNvPr id="6" name="Прямая соединительная линия 5"/>
          <p:cNvCxnSpPr>
            <a:cxnSpLocks/>
          </p:cNvCxnSpPr>
          <p:nvPr/>
        </p:nvCxnSpPr>
        <p:spPr bwMode="auto">
          <a:xfrm>
            <a:off x="3886200" y="3618895"/>
            <a:ext cx="57473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 bwMode="auto">
          <a:xfrm>
            <a:off x="3886200" y="3933055"/>
            <a:ext cx="5459647" cy="1969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dirty="0">
                <a:solidFill>
                  <a:srgbClr val="0B4993"/>
                </a:solidFill>
              </a:rPr>
              <a:t>В 2024 году по случаям срабатывания  индикаторов риска нарушения обязательных требований   проведено 7 проверок:</a:t>
            </a:r>
          </a:p>
          <a:p>
            <a:pPr algn="ctr">
              <a:defRPr/>
            </a:pPr>
            <a:r>
              <a:rPr lang="ru-RU" sz="1400" dirty="0">
                <a:solidFill>
                  <a:srgbClr val="0B4993"/>
                </a:solidFill>
              </a:rPr>
              <a:t> </a:t>
            </a:r>
            <a:endParaRPr sz="1400" dirty="0"/>
          </a:p>
          <a:p>
            <a:pPr algn="ctr">
              <a:defRPr/>
            </a:pPr>
            <a:r>
              <a:rPr lang="ru-RU" sz="1400" dirty="0">
                <a:solidFill>
                  <a:srgbClr val="0B4993"/>
                </a:solidFill>
              </a:rPr>
              <a:t>5 проверок  по срабатыванию индикаторов  ПБ-1, ПБ-3 и  ПБ-6</a:t>
            </a:r>
          </a:p>
          <a:p>
            <a:pPr algn="ctr">
              <a:defRPr/>
            </a:pPr>
            <a:endParaRPr lang="ru-RU" sz="1400" dirty="0">
              <a:solidFill>
                <a:srgbClr val="0B4993"/>
              </a:solidFill>
            </a:endParaRPr>
          </a:p>
          <a:p>
            <a:pPr algn="ctr">
              <a:defRPr/>
            </a:pPr>
            <a:r>
              <a:rPr lang="ru-RU" sz="1400" dirty="0">
                <a:solidFill>
                  <a:srgbClr val="0B4993"/>
                </a:solidFill>
              </a:rPr>
              <a:t> и  2 проверки по срабатыванию индикатора  по строительному надзору . </a:t>
            </a:r>
            <a:endParaRPr sz="1400" b="0" dirty="0">
              <a:solidFill>
                <a:srgbClr val="0B4993"/>
              </a:solidFill>
            </a:endParaRPr>
          </a:p>
          <a:p>
            <a:pPr>
              <a:defRPr/>
            </a:pPr>
            <a:endParaRPr lang="ru-RU" b="0" dirty="0">
              <a:solidFill>
                <a:srgbClr val="0B4993"/>
              </a:solidFill>
            </a:endParaRPr>
          </a:p>
          <a:p>
            <a:pPr>
              <a:defRPr/>
            </a:pPr>
            <a:endParaRPr lang="ru-RU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fade/>
      </p:transition>
    </mc:Choice>
    <mc:Fallback xmlns="" xmlns:m="http://schemas.openxmlformats.org/officeDocument/2006/math" xmlns:w="http://schemas.openxmlformats.org/wordprocessingml/2006/main">
      <p:transition spd="slow" advClick="1">
        <p:fade thruBlk="0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8135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Заголовок 3"/>
          <p:cNvGrpSpPr>
            <a:grpSpLocks noGrp="1"/>
          </p:cNvGrpSpPr>
          <p:nvPr/>
        </p:nvGrpSpPr>
        <p:grpSpPr bwMode="auto"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 bwMode="auto"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ru-RU" sz="1600" b="1" i="0" u="none" strike="noStrike" cap="none" spc="0">
                    <a:ln>
                      <a:noFill/>
                    </a:ln>
                    <a:solidFill>
                      <a:sysClr val="windowText" lastClr="000000"/>
                    </a:solidFill>
                    <a:latin typeface="Arial"/>
                    <a:cs typeface="Arial"/>
                  </a:rPr>
                  <a:t>РОСТЕХНАДЗОР</a:t>
                </a: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latin typeface="Arial"/>
                  <a:cs typeface="Arial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5"/>
              <a:stretch/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>
                <a:solidFill>
                  <a:schemeClr val="bg1"/>
                </a:solidFill>
              </a:rPr>
              <a:t>7</a:t>
            </a:fld>
            <a:endParaRPr lang="ru-RU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299467" y="742796"/>
            <a:ext cx="37155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800" b="0" u="sng" cap="all" dirty="0">
                <a:solidFill>
                  <a:sysClr val="windowText" lastClr="000000"/>
                </a:solidFill>
                <a:cs typeface="Times New Roman"/>
              </a:rPr>
              <a:t>О повышении открытости</a:t>
            </a:r>
            <a:endParaRPr lang="ru-RU" sz="1800" b="0" i="0" u="sng" strike="noStrike" cap="all" spc="0" dirty="0">
              <a:ln>
                <a:noFill/>
              </a:ln>
              <a:solidFill>
                <a:sysClr val="windowText" lastClr="000000"/>
              </a:solidFill>
              <a:cs typeface="Times New Roman"/>
            </a:endParaRPr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12775" y="1310338"/>
            <a:ext cx="902477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800" b="0" dirty="0"/>
              <a:t>Проведение публичных обсуждений результатов правоприменительной практики;</a:t>
            </a:r>
            <a:endParaRPr dirty="0"/>
          </a:p>
          <a:p>
            <a:pPr>
              <a:defRPr/>
            </a:pPr>
            <a:endParaRPr lang="ru-RU" sz="1800" b="0" dirty="0"/>
          </a:p>
          <a:p>
            <a:pPr>
              <a:defRPr/>
            </a:pPr>
            <a:r>
              <a:rPr lang="ru-RU" sz="1800" b="0" dirty="0"/>
              <a:t>Участие в совещаниях на уровне субъектов РФ – Забайкальского края и Республики Бурятия;</a:t>
            </a:r>
            <a:endParaRPr dirty="0"/>
          </a:p>
          <a:p>
            <a:pPr>
              <a:defRPr/>
            </a:pPr>
            <a:r>
              <a:rPr lang="ru-RU" sz="1800" b="0" dirty="0"/>
              <a:t>На официальном сайте регулярно публикуется информация о деятельности Управления, о причинах допущенных аварий и смертельных несчастных случаев, результатах проведенных проверок;</a:t>
            </a:r>
            <a:endParaRPr dirty="0"/>
          </a:p>
          <a:p>
            <a:pPr>
              <a:defRPr/>
            </a:pPr>
            <a:endParaRPr lang="ru-RU" sz="1800" b="0" dirty="0"/>
          </a:p>
          <a:p>
            <a:pPr>
              <a:defRPr/>
            </a:pPr>
            <a:endParaRPr lang="ru-RU" sz="1800" b="0" dirty="0"/>
          </a:p>
        </p:txBody>
      </p:sp>
      <p:pic>
        <p:nvPicPr>
          <p:cNvPr id="17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186050" y="1141654"/>
            <a:ext cx="568513" cy="568513"/>
          </a:xfrm>
          <a:prstGeom prst="rect">
            <a:avLst/>
          </a:prstGeom>
          <a:noFill/>
        </p:spPr>
      </p:pic>
      <p:pic>
        <p:nvPicPr>
          <p:cNvPr id="20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176118" y="1824387"/>
            <a:ext cx="568513" cy="568513"/>
          </a:xfrm>
          <a:prstGeom prst="rect">
            <a:avLst/>
          </a:prstGeom>
          <a:noFill/>
        </p:spPr>
      </p:pic>
      <p:pic>
        <p:nvPicPr>
          <p:cNvPr id="21" name="Picture 30" descr="https://static.tildacdn.com/tild3935-3634-4032-b830-333438323336/checked.png"/>
          <p:cNvPicPr>
            <a:picLocks noChangeAspect="1" noChangeArrowheads="1"/>
          </p:cNvPicPr>
          <p:nvPr/>
        </p:nvPicPr>
        <p:blipFill>
          <a:blip r:embed="rId6"/>
          <a:stretch/>
        </p:blipFill>
        <p:spPr bwMode="auto">
          <a:xfrm>
            <a:off x="186051" y="2477794"/>
            <a:ext cx="568513" cy="568513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/>
        </p:nvSpPr>
        <p:spPr bwMode="auto">
          <a:xfrm>
            <a:off x="612775" y="6093296"/>
            <a:ext cx="327687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0" dirty="0"/>
              <a:t>Публичные обсуждения проводятся в очном </a:t>
            </a:r>
            <a:r>
              <a:rPr lang="en-US" sz="1400" b="0" dirty="0"/>
              <a:t> </a:t>
            </a:r>
            <a:r>
              <a:rPr lang="ru-RU" sz="1400" b="0" dirty="0"/>
              <a:t>формате. Всего в </a:t>
            </a:r>
            <a:r>
              <a:rPr lang="ru-RU" sz="1400" dirty="0"/>
              <a:t>2024</a:t>
            </a:r>
            <a:r>
              <a:rPr lang="ru-RU" sz="1400" b="0" dirty="0"/>
              <a:t> году проведено </a:t>
            </a:r>
            <a:r>
              <a:rPr lang="ru-RU" sz="1400" dirty="0"/>
              <a:t>4</a:t>
            </a:r>
            <a:r>
              <a:rPr lang="ru-RU" sz="1400" b="0" dirty="0"/>
              <a:t> слушания.</a:t>
            </a:r>
            <a:endParaRPr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446717" y="3294117"/>
            <a:ext cx="3460234" cy="2585323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4558256" y="3051751"/>
            <a:ext cx="4427984" cy="3320988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fade/>
      </p:transition>
    </mc:Choice>
    <mc:Fallback xmlns="" xmlns:m="http://schemas.openxmlformats.org/officeDocument/2006/math" xmlns:w="http://schemas.openxmlformats.org/wordprocessingml/2006/main">
      <p:transition spd="slow" advClick="1">
        <p:fade thruBlk="0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8136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Заголовок 3"/>
          <p:cNvGrpSpPr>
            <a:grpSpLocks noGrp="1"/>
          </p:cNvGrpSpPr>
          <p:nvPr/>
        </p:nvGrpSpPr>
        <p:grpSpPr bwMode="auto">
          <a:xfrm>
            <a:off x="0" y="82457"/>
            <a:ext cx="89154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 bwMode="auto"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ru-RU" sz="1600" b="1" i="0" u="none" strike="noStrike" cap="none" spc="0">
                    <a:ln>
                      <a:noFill/>
                    </a:ln>
                    <a:solidFill>
                      <a:sysClr val="windowText" lastClr="000000"/>
                    </a:solidFill>
                    <a:latin typeface="Arial"/>
                    <a:cs typeface="Arial"/>
                  </a:rPr>
                  <a:t>РОСТЕХНАДЗОР</a:t>
                </a: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latin typeface="Arial"/>
                  <a:cs typeface="Arial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5"/>
              <a:stretch/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>
          <a:xfrm>
            <a:off x="9201472" y="5949280"/>
            <a:ext cx="600192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>
                <a:solidFill>
                  <a:schemeClr val="bg1"/>
                </a:solidFill>
              </a:rPr>
              <a:t>8</a:t>
            </a:fld>
            <a:endParaRPr lang="ru-RU">
              <a:solidFill>
                <a:schemeClr val="bg1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877380" y="770635"/>
            <a:ext cx="645188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000" b="0" u="sng" cap="all" dirty="0">
                <a:solidFill>
                  <a:sysClr val="windowText" lastClr="000000"/>
                </a:solidFill>
                <a:cs typeface="Times New Roman"/>
              </a:rPr>
              <a:t>О работе по профилактике нарушений</a:t>
            </a:r>
            <a:endParaRPr lang="ru-RU" sz="2000" b="0" i="0" u="sng" strike="noStrike" cap="all" spc="0" dirty="0">
              <a:ln>
                <a:noFill/>
              </a:ln>
              <a:solidFill>
                <a:sysClr val="windowText" lastClr="000000"/>
              </a:solidFill>
              <a:cs typeface="Times New Roman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877380" y="6112363"/>
            <a:ext cx="82629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cap="all" dirty="0"/>
              <a:t>Наказание не является целью, цель – профилактика!</a:t>
            </a:r>
            <a:endParaRPr dirty="0"/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1299467" y="1233215"/>
            <a:ext cx="5525742" cy="2277547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21650">
                <a:schemeClr val="accent6">
                  <a:lumMod val="20000"/>
                  <a:lumOff val="80000"/>
                </a:schemeClr>
              </a:gs>
              <a:gs pos="50000">
                <a:srgbClr val="FFFFFF"/>
              </a:gs>
              <a:gs pos="99000">
                <a:schemeClr val="bg1">
                  <a:lumMod val="95000"/>
                </a:schemeClr>
              </a:gs>
            </a:gsLst>
            <a:lin ang="0" scaled="1"/>
          </a:gradFill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800" dirty="0"/>
              <a:t>Профилактические мероприятия (ст. 45 248-ФЗ)</a:t>
            </a:r>
            <a:endParaRPr dirty="0"/>
          </a:p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ru-RU" sz="1600" dirty="0"/>
              <a:t>1) информирование;</a:t>
            </a:r>
            <a:endParaRPr dirty="0"/>
          </a:p>
          <a:p>
            <a:pPr>
              <a:defRPr/>
            </a:pPr>
            <a:r>
              <a:rPr lang="ru-RU" sz="1600" dirty="0"/>
              <a:t>2) обобщение правоприменительной практики;</a:t>
            </a:r>
            <a:endParaRPr dirty="0"/>
          </a:p>
          <a:p>
            <a:pPr>
              <a:defRPr/>
            </a:pPr>
            <a:r>
              <a:rPr lang="ru-RU" sz="1600" dirty="0"/>
              <a:t>3) меры стимулирования добросовестности;</a:t>
            </a:r>
            <a:endParaRPr dirty="0"/>
          </a:p>
          <a:p>
            <a:pPr>
              <a:defRPr/>
            </a:pPr>
            <a:r>
              <a:rPr lang="ru-RU" sz="1600" dirty="0"/>
              <a:t>4) объявление предостережения;</a:t>
            </a:r>
            <a:endParaRPr dirty="0"/>
          </a:p>
          <a:p>
            <a:pPr>
              <a:defRPr/>
            </a:pPr>
            <a:r>
              <a:rPr lang="ru-RU" sz="1600" dirty="0"/>
              <a:t>5) консультирование;</a:t>
            </a:r>
            <a:endParaRPr dirty="0"/>
          </a:p>
          <a:p>
            <a:pPr>
              <a:defRPr/>
            </a:pPr>
            <a:r>
              <a:rPr lang="ru-RU" sz="1600" dirty="0"/>
              <a:t>6) самообследование;</a:t>
            </a:r>
            <a:endParaRPr dirty="0"/>
          </a:p>
          <a:p>
            <a:pPr>
              <a:defRPr/>
            </a:pPr>
            <a:r>
              <a:rPr lang="ru-RU" sz="1600" dirty="0"/>
              <a:t>7) профилактический визит.</a:t>
            </a:r>
            <a:endParaRPr dirty="0"/>
          </a:p>
        </p:txBody>
      </p:sp>
      <p:cxnSp>
        <p:nvCxnSpPr>
          <p:cNvPr id="21" name="Прямая соединительная линия 20"/>
          <p:cNvCxnSpPr>
            <a:cxnSpLocks/>
          </p:cNvCxnSpPr>
          <p:nvPr/>
        </p:nvCxnSpPr>
        <p:spPr bwMode="auto">
          <a:xfrm>
            <a:off x="720382" y="3716263"/>
            <a:ext cx="86334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2000108"/>
              </p:ext>
            </p:extLst>
          </p:nvPr>
        </p:nvGraphicFramePr>
        <p:xfrm>
          <a:off x="715747" y="3789041"/>
          <a:ext cx="8633451" cy="2323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fade/>
      </p:transition>
    </mc:Choice>
    <mc:Fallback xmlns="" xmlns:m="http://schemas.openxmlformats.org/officeDocument/2006/math" xmlns:w="http://schemas.openxmlformats.org/wordprocessingml/2006/main">
      <p:transition spd="slow" advClick="1">
        <p:fade thruBlk="0"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Объект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F814217-A692-4320-9F69-D25E0A5EB74C}" type="slidenum">
              <a:rPr lang="ru-RU"/>
              <a:t>9</a:t>
            </a:fld>
            <a:endParaRPr lang="ru-RU"/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07976" y="7941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/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 bwMode="auto">
          <a:xfrm>
            <a:off x="0" y="90214"/>
            <a:ext cx="8915400" cy="1143000"/>
            <a:chOff x="35496" y="44624"/>
            <a:chExt cx="9107488" cy="1189038"/>
          </a:xfrm>
        </p:grpSpPr>
        <p:grpSp>
          <p:nvGrpSpPr>
            <p:cNvPr id="8" name="Группа 34"/>
            <p:cNvGrpSpPr/>
            <p:nvPr/>
          </p:nvGrpSpPr>
          <p:grpSpPr bwMode="auto"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marL="0" marR="0" lvl="0" indent="0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cs typeface="Arial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 bwMode="auto">
            <a:xfrm>
              <a:off x="251520" y="44624"/>
              <a:ext cx="4315393" cy="1189038"/>
              <a:chOff x="251520" y="44624"/>
              <a:chExt cx="4315393" cy="1189038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251520" y="66526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ru-RU" sz="1600" b="1" i="0" u="none" strike="noStrike" cap="none" spc="0">
                    <a:ln>
                      <a:noFill/>
                    </a:ln>
                    <a:solidFill>
                      <a:sysClr val="windowText" lastClr="000000"/>
                    </a:solidFill>
                    <a:latin typeface="Arial"/>
                    <a:cs typeface="Arial"/>
                  </a:rPr>
                  <a:t>РОСТЕХНАДЗОР</a:t>
                </a:r>
                <a:endParaRPr lang="ru-RU" sz="1800" b="0" i="0" u="none" strike="noStrike" cap="none" spc="0">
                  <a:ln>
                    <a:noFill/>
                  </a:ln>
                  <a:solidFill>
                    <a:sysClr val="windowText" lastClr="000000"/>
                  </a:solidFill>
                  <a:latin typeface="Arial"/>
                  <a:cs typeface="Arial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5"/>
              <a:stretch/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</p:grp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299470" y="770635"/>
            <a:ext cx="782999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000" b="0" i="0" u="sng" strike="noStrike" cap="all" spc="0" dirty="0">
                <a:ln>
                  <a:noFill/>
                </a:ln>
                <a:solidFill>
                  <a:sysClr val="windowText" lastClr="000000"/>
                </a:solidFill>
                <a:cs typeface="Times New Roman"/>
              </a:rPr>
              <a:t>Предоставление государственных услуг</a:t>
            </a:r>
            <a:endParaRPr dirty="0"/>
          </a:p>
        </p:txBody>
      </p:sp>
      <p:pic>
        <p:nvPicPr>
          <p:cNvPr id="15365" name="Picture 5">
            <a:extLst>
              <a:ext uri="{FF2B5EF4-FFF2-40B4-BE49-F238E27FC236}">
                <a16:creationId xmlns:a16="http://schemas.microsoft.com/office/drawing/2014/main" id="{B63B80D3-6B79-4835-9C30-17B12E803A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1278185"/>
            <a:ext cx="4310772" cy="2582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A7013DA-A688-4F96-AFCB-CFAF03408A1A}"/>
              </a:ext>
            </a:extLst>
          </p:cNvPr>
          <p:cNvSpPr txBox="1"/>
          <p:nvPr/>
        </p:nvSpPr>
        <p:spPr>
          <a:xfrm>
            <a:off x="4771147" y="1772816"/>
            <a:ext cx="4953740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По итогам работы за 2024 год  доля заявлений по государственным услугами функциям, поданных в управление через ЕПГУ от общего количества, составляет 15 %. </a:t>
            </a:r>
            <a:endParaRPr lang="ru-RU" sz="18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A44AC6B-0D51-4E22-8440-A71E1E334E53}"/>
              </a:ext>
            </a:extLst>
          </p:cNvPr>
          <p:cNvSpPr txBox="1"/>
          <p:nvPr/>
        </p:nvSpPr>
        <p:spPr>
          <a:xfrm>
            <a:off x="452722" y="3852215"/>
            <a:ext cx="9108790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Наилучшие показатели по доле заявлений по государственным услугам, поданных в управление через ЕПГУ от общего количества, по следующим государственным услугам и функциям:</a:t>
            </a:r>
          </a:p>
          <a:p>
            <a:pPr algn="ctr"/>
            <a:r>
              <a:rPr lang="ru-RU" sz="1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</a:p>
          <a:p>
            <a:pPr algn="ctr"/>
            <a:r>
              <a:rPr lang="ru-RU" sz="1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Лицензирование деятельности по производству маркшейдерских работ- 100%;</a:t>
            </a:r>
          </a:p>
          <a:p>
            <a:pPr algn="ctr"/>
            <a:r>
              <a:rPr lang="ru-RU" sz="1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Ведение реестра заключений экспертизы промышленной безопасности -39%;</a:t>
            </a:r>
          </a:p>
          <a:p>
            <a:pPr algn="ctr"/>
            <a:r>
              <a:rPr lang="ru-RU" sz="1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Лицензирование деятельности по эксплуатации взрывопожароопасных и химически опасных производственных объектов I, II и III классов опасности- 19 %;</a:t>
            </a:r>
          </a:p>
          <a:p>
            <a:pPr algn="ctr"/>
            <a:r>
              <a:rPr lang="ru-RU" sz="1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Организация проведения аттестации по вопросам промышленной безопасности, по вопросам безопасности гидротехнических сооружений, безопасности в сфере электроэнергетики- 16%.</a:t>
            </a:r>
          </a:p>
        </p:txBody>
      </p:sp>
    </p:spTree>
    <p:extLst>
      <p:ext uri="{BB962C8B-B14F-4D97-AF65-F5344CB8AC3E}">
        <p14:creationId xmlns:p14="http://schemas.microsoft.com/office/powerpoint/2010/main" val="345693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fade/>
      </p:transition>
    </mc:Choice>
    <mc:Fallback xmlns="">
      <p:transition spd="slow">
        <p:fade/>
      </p:transition>
    </mc:Fallback>
  </mc:AlternateContent>
</p:sld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1491</TotalTime>
  <Words>1097</Words>
  <Application>Microsoft Office PowerPoint</Application>
  <DocSecurity>0</DocSecurity>
  <PresentationFormat>Лист A4 (210x297 мм)</PresentationFormat>
  <Paragraphs>271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Arial</vt:lpstr>
      <vt:lpstr>Calibri</vt:lpstr>
      <vt:lpstr>Cambria</vt:lpstr>
      <vt:lpstr>Times New Roman</vt:lpstr>
      <vt:lpstr>Тема Office</vt:lpstr>
      <vt:lpstr>1_Тема Office</vt:lpstr>
      <vt:lpstr>oleObj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subject/>
  <dc:creator>A.Tukay</dc:creator>
  <cp:keywords/>
  <dc:description/>
  <cp:lastModifiedBy>Ксения В. Крушельницкая</cp:lastModifiedBy>
  <cp:revision>1311</cp:revision>
  <dcterms:created xsi:type="dcterms:W3CDTF">2012-04-16T06:44:06Z</dcterms:created>
  <dcterms:modified xsi:type="dcterms:W3CDTF">2025-02-17T06:19:11Z</dcterms:modified>
  <cp:category/>
  <dc:identifier/>
  <cp:contentStatus/>
  <dc:language/>
  <cp:version/>
</cp:coreProperties>
</file>